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5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9" r:id="rId3"/>
    <p:sldMasterId id="2147483691" r:id="rId4"/>
    <p:sldMasterId id="2147483704" r:id="rId5"/>
  </p:sldMasterIdLst>
  <p:sldIdLst>
    <p:sldId id="4212" r:id="rId6"/>
    <p:sldId id="4411" r:id="rId7"/>
    <p:sldId id="4412" r:id="rId8"/>
    <p:sldId id="3965" r:id="rId9"/>
    <p:sldId id="4115" r:id="rId10"/>
    <p:sldId id="256" r:id="rId11"/>
    <p:sldId id="4223" r:id="rId12"/>
    <p:sldId id="257" r:id="rId13"/>
    <p:sldId id="4415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91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95F0A13-7A11-41FC-9B26-FC79C6DE9526}" v="2" dt="2023-07-11T11:17:45.17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49" d="100"/>
          <a:sy n="149" d="100"/>
        </p:scale>
        <p:origin x="69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udarshan Chakravarthi" userId="9632d19e-631d-46a5-9e9a-d9cc496f17d0" providerId="ADAL" clId="{2CE186BC-29B8-430F-8B9C-C0235D4A8651}"/>
    <pc:docChg chg="custSel addSld delSld modSld delMainMaster">
      <pc:chgData name="Sudarshan Chakravarthi" userId="9632d19e-631d-46a5-9e9a-d9cc496f17d0" providerId="ADAL" clId="{2CE186BC-29B8-430F-8B9C-C0235D4A8651}" dt="2023-02-12T13:19:48.816" v="419" actId="47"/>
      <pc:docMkLst>
        <pc:docMk/>
      </pc:docMkLst>
      <pc:sldChg chg="addSp delSp modSp mod">
        <pc:chgData name="Sudarshan Chakravarthi" userId="9632d19e-631d-46a5-9e9a-d9cc496f17d0" providerId="ADAL" clId="{2CE186BC-29B8-430F-8B9C-C0235D4A8651}" dt="2021-10-02T16:33:45.370" v="320" actId="404"/>
        <pc:sldMkLst>
          <pc:docMk/>
          <pc:sldMk cId="3838993883" sldId="256"/>
        </pc:sldMkLst>
        <pc:spChg chg="mod">
          <ac:chgData name="Sudarshan Chakravarthi" userId="9632d19e-631d-46a5-9e9a-d9cc496f17d0" providerId="ADAL" clId="{2CE186BC-29B8-430F-8B9C-C0235D4A8651}" dt="2021-10-02T16:26:35.369" v="292" actId="2711"/>
          <ac:spMkLst>
            <pc:docMk/>
            <pc:sldMk cId="3838993883" sldId="256"/>
            <ac:spMk id="11" creationId="{961C1A6E-1555-4066-AC58-A7A5A042833C}"/>
          </ac:spMkLst>
        </pc:spChg>
        <pc:spChg chg="mod">
          <ac:chgData name="Sudarshan Chakravarthi" userId="9632d19e-631d-46a5-9e9a-d9cc496f17d0" providerId="ADAL" clId="{2CE186BC-29B8-430F-8B9C-C0235D4A8651}" dt="2021-10-02T16:26:44.580" v="294" actId="404"/>
          <ac:spMkLst>
            <pc:docMk/>
            <pc:sldMk cId="3838993883" sldId="256"/>
            <ac:spMk id="12" creationId="{5024217B-D13C-4221-9671-8B2032894A6B}"/>
          </ac:spMkLst>
        </pc:spChg>
        <pc:spChg chg="mod">
          <ac:chgData name="Sudarshan Chakravarthi" userId="9632d19e-631d-46a5-9e9a-d9cc496f17d0" providerId="ADAL" clId="{2CE186BC-29B8-430F-8B9C-C0235D4A8651}" dt="2021-10-02T16:26:44.580" v="294" actId="404"/>
          <ac:spMkLst>
            <pc:docMk/>
            <pc:sldMk cId="3838993883" sldId="256"/>
            <ac:spMk id="14" creationId="{34E3C12D-4213-4A5C-B132-635608279468}"/>
          </ac:spMkLst>
        </pc:spChg>
        <pc:spChg chg="mod">
          <ac:chgData name="Sudarshan Chakravarthi" userId="9632d19e-631d-46a5-9e9a-d9cc496f17d0" providerId="ADAL" clId="{2CE186BC-29B8-430F-8B9C-C0235D4A8651}" dt="2021-10-02T16:26:44.580" v="294" actId="404"/>
          <ac:spMkLst>
            <pc:docMk/>
            <pc:sldMk cId="3838993883" sldId="256"/>
            <ac:spMk id="16" creationId="{17DBA1D8-9912-436B-AB1C-80EA3C008981}"/>
          </ac:spMkLst>
        </pc:spChg>
        <pc:spChg chg="mod">
          <ac:chgData name="Sudarshan Chakravarthi" userId="9632d19e-631d-46a5-9e9a-d9cc496f17d0" providerId="ADAL" clId="{2CE186BC-29B8-430F-8B9C-C0235D4A8651}" dt="2021-10-02T16:26:44.580" v="294" actId="404"/>
          <ac:spMkLst>
            <pc:docMk/>
            <pc:sldMk cId="3838993883" sldId="256"/>
            <ac:spMk id="18" creationId="{19A80632-94A0-4DA9-932E-071B6DD854B8}"/>
          </ac:spMkLst>
        </pc:spChg>
        <pc:spChg chg="mod">
          <ac:chgData name="Sudarshan Chakravarthi" userId="9632d19e-631d-46a5-9e9a-d9cc496f17d0" providerId="ADAL" clId="{2CE186BC-29B8-430F-8B9C-C0235D4A8651}" dt="2021-10-02T16:26:44.580" v="294" actId="404"/>
          <ac:spMkLst>
            <pc:docMk/>
            <pc:sldMk cId="3838993883" sldId="256"/>
            <ac:spMk id="20" creationId="{76753DCD-A64F-43F9-8DD3-CC384C254B3D}"/>
          </ac:spMkLst>
        </pc:spChg>
        <pc:spChg chg="mod">
          <ac:chgData name="Sudarshan Chakravarthi" userId="9632d19e-631d-46a5-9e9a-d9cc496f17d0" providerId="ADAL" clId="{2CE186BC-29B8-430F-8B9C-C0235D4A8651}" dt="2021-10-02T16:26:44.580" v="294" actId="404"/>
          <ac:spMkLst>
            <pc:docMk/>
            <pc:sldMk cId="3838993883" sldId="256"/>
            <ac:spMk id="22" creationId="{13598522-BBFF-4276-8A65-430A16C548CE}"/>
          </ac:spMkLst>
        </pc:spChg>
        <pc:spChg chg="mod">
          <ac:chgData name="Sudarshan Chakravarthi" userId="9632d19e-631d-46a5-9e9a-d9cc496f17d0" providerId="ADAL" clId="{2CE186BC-29B8-430F-8B9C-C0235D4A8651}" dt="2021-10-02T16:26:44.580" v="294" actId="404"/>
          <ac:spMkLst>
            <pc:docMk/>
            <pc:sldMk cId="3838993883" sldId="256"/>
            <ac:spMk id="24" creationId="{F97AC35D-E085-4737-A583-50EFC01C29C2}"/>
          </ac:spMkLst>
        </pc:spChg>
        <pc:spChg chg="mod">
          <ac:chgData name="Sudarshan Chakravarthi" userId="9632d19e-631d-46a5-9e9a-d9cc496f17d0" providerId="ADAL" clId="{2CE186BC-29B8-430F-8B9C-C0235D4A8651}" dt="2021-10-02T16:26:44.580" v="294" actId="404"/>
          <ac:spMkLst>
            <pc:docMk/>
            <pc:sldMk cId="3838993883" sldId="256"/>
            <ac:spMk id="26" creationId="{A5B7B04C-E91C-46B1-A6FA-0430130B75A7}"/>
          </ac:spMkLst>
        </pc:spChg>
        <pc:spChg chg="mod">
          <ac:chgData name="Sudarshan Chakravarthi" userId="9632d19e-631d-46a5-9e9a-d9cc496f17d0" providerId="ADAL" clId="{2CE186BC-29B8-430F-8B9C-C0235D4A8651}" dt="2021-10-02T16:26:44.580" v="294" actId="404"/>
          <ac:spMkLst>
            <pc:docMk/>
            <pc:sldMk cId="3838993883" sldId="256"/>
            <ac:spMk id="28" creationId="{70A29043-B6F0-430B-A445-5927823EB85B}"/>
          </ac:spMkLst>
        </pc:spChg>
        <pc:spChg chg="mod">
          <ac:chgData name="Sudarshan Chakravarthi" userId="9632d19e-631d-46a5-9e9a-d9cc496f17d0" providerId="ADAL" clId="{2CE186BC-29B8-430F-8B9C-C0235D4A8651}" dt="2021-10-02T16:26:44.580" v="294" actId="404"/>
          <ac:spMkLst>
            <pc:docMk/>
            <pc:sldMk cId="3838993883" sldId="256"/>
            <ac:spMk id="30" creationId="{FB4E9F46-01FD-453D-A8EC-1B9021F27551}"/>
          </ac:spMkLst>
        </pc:spChg>
        <pc:spChg chg="mod">
          <ac:chgData name="Sudarshan Chakravarthi" userId="9632d19e-631d-46a5-9e9a-d9cc496f17d0" providerId="ADAL" clId="{2CE186BC-29B8-430F-8B9C-C0235D4A8651}" dt="2021-10-02T16:26:35.369" v="292" actId="2711"/>
          <ac:spMkLst>
            <pc:docMk/>
            <pc:sldMk cId="3838993883" sldId="256"/>
            <ac:spMk id="31" creationId="{1EC97D0B-7628-4AF3-9BDB-AED4464AE078}"/>
          </ac:spMkLst>
        </pc:spChg>
        <pc:spChg chg="mod">
          <ac:chgData name="Sudarshan Chakravarthi" userId="9632d19e-631d-46a5-9e9a-d9cc496f17d0" providerId="ADAL" clId="{2CE186BC-29B8-430F-8B9C-C0235D4A8651}" dt="2021-10-02T16:26:44.580" v="294" actId="404"/>
          <ac:spMkLst>
            <pc:docMk/>
            <pc:sldMk cId="3838993883" sldId="256"/>
            <ac:spMk id="32" creationId="{44799861-C751-45C5-BD1C-7E2D7DF9823A}"/>
          </ac:spMkLst>
        </pc:spChg>
        <pc:spChg chg="add del mod">
          <ac:chgData name="Sudarshan Chakravarthi" userId="9632d19e-631d-46a5-9e9a-d9cc496f17d0" providerId="ADAL" clId="{2CE186BC-29B8-430F-8B9C-C0235D4A8651}" dt="2021-10-02T16:33:16.313" v="318" actId="21"/>
          <ac:spMkLst>
            <pc:docMk/>
            <pc:sldMk cId="3838993883" sldId="256"/>
            <ac:spMk id="33" creationId="{B8E68015-DFA4-46A2-A9B4-E3B0E3A3D1DA}"/>
          </ac:spMkLst>
        </pc:spChg>
        <pc:spChg chg="mod">
          <ac:chgData name="Sudarshan Chakravarthi" userId="9632d19e-631d-46a5-9e9a-d9cc496f17d0" providerId="ADAL" clId="{2CE186BC-29B8-430F-8B9C-C0235D4A8651}" dt="2021-10-02T16:26:44.580" v="294" actId="404"/>
          <ac:spMkLst>
            <pc:docMk/>
            <pc:sldMk cId="3838993883" sldId="256"/>
            <ac:spMk id="34" creationId="{8154B33E-EDF4-453E-ADEF-B7599869CAB6}"/>
          </ac:spMkLst>
        </pc:spChg>
        <pc:spChg chg="add del mod">
          <ac:chgData name="Sudarshan Chakravarthi" userId="9632d19e-631d-46a5-9e9a-d9cc496f17d0" providerId="ADAL" clId="{2CE186BC-29B8-430F-8B9C-C0235D4A8651}" dt="2021-10-02T16:33:16.313" v="318" actId="21"/>
          <ac:spMkLst>
            <pc:docMk/>
            <pc:sldMk cId="3838993883" sldId="256"/>
            <ac:spMk id="35" creationId="{C39E7253-0E04-402D-8AF7-EDB761A07BEC}"/>
          </ac:spMkLst>
        </pc:spChg>
        <pc:spChg chg="mod">
          <ac:chgData name="Sudarshan Chakravarthi" userId="9632d19e-631d-46a5-9e9a-d9cc496f17d0" providerId="ADAL" clId="{2CE186BC-29B8-430F-8B9C-C0235D4A8651}" dt="2021-10-02T16:26:44.580" v="294" actId="404"/>
          <ac:spMkLst>
            <pc:docMk/>
            <pc:sldMk cId="3838993883" sldId="256"/>
            <ac:spMk id="36" creationId="{884FB8F9-9479-44AD-8FA7-292AAACEE5D0}"/>
          </ac:spMkLst>
        </pc:spChg>
        <pc:spChg chg="add del mod">
          <ac:chgData name="Sudarshan Chakravarthi" userId="9632d19e-631d-46a5-9e9a-d9cc496f17d0" providerId="ADAL" clId="{2CE186BC-29B8-430F-8B9C-C0235D4A8651}" dt="2021-10-02T16:33:16.313" v="318" actId="21"/>
          <ac:spMkLst>
            <pc:docMk/>
            <pc:sldMk cId="3838993883" sldId="256"/>
            <ac:spMk id="37" creationId="{73745FD8-5C72-405C-AC9C-8A75CF88B5C8}"/>
          </ac:spMkLst>
        </pc:spChg>
        <pc:spChg chg="mod">
          <ac:chgData name="Sudarshan Chakravarthi" userId="9632d19e-631d-46a5-9e9a-d9cc496f17d0" providerId="ADAL" clId="{2CE186BC-29B8-430F-8B9C-C0235D4A8651}" dt="2021-10-02T16:26:44.580" v="294" actId="404"/>
          <ac:spMkLst>
            <pc:docMk/>
            <pc:sldMk cId="3838993883" sldId="256"/>
            <ac:spMk id="38" creationId="{487D0531-3C62-4C04-B3F4-E0C54B7CCDE4}"/>
          </ac:spMkLst>
        </pc:spChg>
        <pc:spChg chg="add del mod">
          <ac:chgData name="Sudarshan Chakravarthi" userId="9632d19e-631d-46a5-9e9a-d9cc496f17d0" providerId="ADAL" clId="{2CE186BC-29B8-430F-8B9C-C0235D4A8651}" dt="2021-10-02T16:33:16.313" v="318" actId="21"/>
          <ac:spMkLst>
            <pc:docMk/>
            <pc:sldMk cId="3838993883" sldId="256"/>
            <ac:spMk id="39" creationId="{162780B1-EB21-4F6D-B8FC-CA0803BFC113}"/>
          </ac:spMkLst>
        </pc:spChg>
        <pc:spChg chg="mod">
          <ac:chgData name="Sudarshan Chakravarthi" userId="9632d19e-631d-46a5-9e9a-d9cc496f17d0" providerId="ADAL" clId="{2CE186BC-29B8-430F-8B9C-C0235D4A8651}" dt="2021-10-02T16:26:44.580" v="294" actId="404"/>
          <ac:spMkLst>
            <pc:docMk/>
            <pc:sldMk cId="3838993883" sldId="256"/>
            <ac:spMk id="40" creationId="{6C92B6C8-77AB-448C-A168-48C23A70A60E}"/>
          </ac:spMkLst>
        </pc:spChg>
        <pc:spChg chg="mod">
          <ac:chgData name="Sudarshan Chakravarthi" userId="9632d19e-631d-46a5-9e9a-d9cc496f17d0" providerId="ADAL" clId="{2CE186BC-29B8-430F-8B9C-C0235D4A8651}" dt="2021-10-02T16:26:44.580" v="294" actId="404"/>
          <ac:spMkLst>
            <pc:docMk/>
            <pc:sldMk cId="3838993883" sldId="256"/>
            <ac:spMk id="42" creationId="{F02848F9-0DE0-45A5-A98F-D380ACCA9EC0}"/>
          </ac:spMkLst>
        </pc:spChg>
        <pc:spChg chg="mod">
          <ac:chgData name="Sudarshan Chakravarthi" userId="9632d19e-631d-46a5-9e9a-d9cc496f17d0" providerId="ADAL" clId="{2CE186BC-29B8-430F-8B9C-C0235D4A8651}" dt="2021-10-02T16:26:44.580" v="294" actId="404"/>
          <ac:spMkLst>
            <pc:docMk/>
            <pc:sldMk cId="3838993883" sldId="256"/>
            <ac:spMk id="44" creationId="{421CB36E-1020-4084-ABE0-E881332D7A46}"/>
          </ac:spMkLst>
        </pc:spChg>
        <pc:spChg chg="mod">
          <ac:chgData name="Sudarshan Chakravarthi" userId="9632d19e-631d-46a5-9e9a-d9cc496f17d0" providerId="ADAL" clId="{2CE186BC-29B8-430F-8B9C-C0235D4A8651}" dt="2021-10-02T16:26:44.580" v="294" actId="404"/>
          <ac:spMkLst>
            <pc:docMk/>
            <pc:sldMk cId="3838993883" sldId="256"/>
            <ac:spMk id="46" creationId="{CCFB1432-46AD-431B-A658-F66252B9D1FE}"/>
          </ac:spMkLst>
        </pc:spChg>
        <pc:spChg chg="mod">
          <ac:chgData name="Sudarshan Chakravarthi" userId="9632d19e-631d-46a5-9e9a-d9cc496f17d0" providerId="ADAL" clId="{2CE186BC-29B8-430F-8B9C-C0235D4A8651}" dt="2021-10-02T16:26:44.580" v="294" actId="404"/>
          <ac:spMkLst>
            <pc:docMk/>
            <pc:sldMk cId="3838993883" sldId="256"/>
            <ac:spMk id="48" creationId="{E12A0A72-7DCC-4A97-A211-CF1FA29A6BAD}"/>
          </ac:spMkLst>
        </pc:spChg>
        <pc:spChg chg="mod">
          <ac:chgData name="Sudarshan Chakravarthi" userId="9632d19e-631d-46a5-9e9a-d9cc496f17d0" providerId="ADAL" clId="{2CE186BC-29B8-430F-8B9C-C0235D4A8651}" dt="2021-10-02T16:26:44.580" v="294" actId="404"/>
          <ac:spMkLst>
            <pc:docMk/>
            <pc:sldMk cId="3838993883" sldId="256"/>
            <ac:spMk id="50" creationId="{B0FB503D-766A-4B5A-9FAF-EE19DD4A2900}"/>
          </ac:spMkLst>
        </pc:spChg>
        <pc:spChg chg="mod">
          <ac:chgData name="Sudarshan Chakravarthi" userId="9632d19e-631d-46a5-9e9a-d9cc496f17d0" providerId="ADAL" clId="{2CE186BC-29B8-430F-8B9C-C0235D4A8651}" dt="2021-10-02T16:26:35.369" v="292" actId="2711"/>
          <ac:spMkLst>
            <pc:docMk/>
            <pc:sldMk cId="3838993883" sldId="256"/>
            <ac:spMk id="52" creationId="{DE434E01-68BA-4A7F-9638-DE246D24476E}"/>
          </ac:spMkLst>
        </pc:spChg>
        <pc:spChg chg="mod">
          <ac:chgData name="Sudarshan Chakravarthi" userId="9632d19e-631d-46a5-9e9a-d9cc496f17d0" providerId="ADAL" clId="{2CE186BC-29B8-430F-8B9C-C0235D4A8651}" dt="2021-10-02T16:26:35.369" v="292" actId="2711"/>
          <ac:spMkLst>
            <pc:docMk/>
            <pc:sldMk cId="3838993883" sldId="256"/>
            <ac:spMk id="54" creationId="{63486767-7969-4899-B27E-893E19D72EE6}"/>
          </ac:spMkLst>
        </pc:spChg>
        <pc:spChg chg="mod">
          <ac:chgData name="Sudarshan Chakravarthi" userId="9632d19e-631d-46a5-9e9a-d9cc496f17d0" providerId="ADAL" clId="{2CE186BC-29B8-430F-8B9C-C0235D4A8651}" dt="2021-10-02T16:26:35.369" v="292" actId="2711"/>
          <ac:spMkLst>
            <pc:docMk/>
            <pc:sldMk cId="3838993883" sldId="256"/>
            <ac:spMk id="56" creationId="{A68D1F34-E655-41A4-B44B-01B50578142B}"/>
          </ac:spMkLst>
        </pc:spChg>
        <pc:graphicFrameChg chg="modGraphic">
          <ac:chgData name="Sudarshan Chakravarthi" userId="9632d19e-631d-46a5-9e9a-d9cc496f17d0" providerId="ADAL" clId="{2CE186BC-29B8-430F-8B9C-C0235D4A8651}" dt="2021-10-02T16:31:34.735" v="301" actId="207"/>
          <ac:graphicFrameMkLst>
            <pc:docMk/>
            <pc:sldMk cId="3838993883" sldId="256"/>
            <ac:graphicFrameMk id="7" creationId="{0FABC501-C69B-423A-9A66-F3FB88F796D5}"/>
          </ac:graphicFrameMkLst>
        </pc:graphicFrameChg>
        <pc:graphicFrameChg chg="modGraphic">
          <ac:chgData name="Sudarshan Chakravarthi" userId="9632d19e-631d-46a5-9e9a-d9cc496f17d0" providerId="ADAL" clId="{2CE186BC-29B8-430F-8B9C-C0235D4A8651}" dt="2021-10-02T16:33:45.370" v="320" actId="404"/>
          <ac:graphicFrameMkLst>
            <pc:docMk/>
            <pc:sldMk cId="3838993883" sldId="256"/>
            <ac:graphicFrameMk id="9" creationId="{54C95F76-4806-4327-A0B9-863586AD4BCD}"/>
          </ac:graphicFrameMkLst>
        </pc:graphicFrameChg>
      </pc:sldChg>
      <pc:sldChg chg="modSp mod">
        <pc:chgData name="Sudarshan Chakravarthi" userId="9632d19e-631d-46a5-9e9a-d9cc496f17d0" providerId="ADAL" clId="{2CE186BC-29B8-430F-8B9C-C0235D4A8651}" dt="2021-10-02T16:35:17.545" v="334" actId="207"/>
        <pc:sldMkLst>
          <pc:docMk/>
          <pc:sldMk cId="3964202424" sldId="257"/>
        </pc:sldMkLst>
        <pc:spChg chg="mod">
          <ac:chgData name="Sudarshan Chakravarthi" userId="9632d19e-631d-46a5-9e9a-d9cc496f17d0" providerId="ADAL" clId="{2CE186BC-29B8-430F-8B9C-C0235D4A8651}" dt="2021-10-02T16:24:05.511" v="139" actId="404"/>
          <ac:spMkLst>
            <pc:docMk/>
            <pc:sldMk cId="3964202424" sldId="257"/>
            <ac:spMk id="12" creationId="{BB2D5101-7D0F-4FC8-A333-0341EB348039}"/>
          </ac:spMkLst>
        </pc:spChg>
        <pc:graphicFrameChg chg="modGraphic">
          <ac:chgData name="Sudarshan Chakravarthi" userId="9632d19e-631d-46a5-9e9a-d9cc496f17d0" providerId="ADAL" clId="{2CE186BC-29B8-430F-8B9C-C0235D4A8651}" dt="2021-10-02T16:32:23.807" v="313" actId="207"/>
          <ac:graphicFrameMkLst>
            <pc:docMk/>
            <pc:sldMk cId="3964202424" sldId="257"/>
            <ac:graphicFrameMk id="7" creationId="{0FABC501-C69B-423A-9A66-F3FB88F796D5}"/>
          </ac:graphicFrameMkLst>
        </pc:graphicFrameChg>
        <pc:graphicFrameChg chg="modGraphic">
          <ac:chgData name="Sudarshan Chakravarthi" userId="9632d19e-631d-46a5-9e9a-d9cc496f17d0" providerId="ADAL" clId="{2CE186BC-29B8-430F-8B9C-C0235D4A8651}" dt="2021-10-02T16:35:17.545" v="334" actId="207"/>
          <ac:graphicFrameMkLst>
            <pc:docMk/>
            <pc:sldMk cId="3964202424" sldId="257"/>
            <ac:graphicFrameMk id="9" creationId="{54C95F76-4806-4327-A0B9-863586AD4BCD}"/>
          </ac:graphicFrameMkLst>
        </pc:graphicFrameChg>
      </pc:sldChg>
      <pc:sldChg chg="add del">
        <pc:chgData name="Sudarshan Chakravarthi" userId="9632d19e-631d-46a5-9e9a-d9cc496f17d0" providerId="ADAL" clId="{2CE186BC-29B8-430F-8B9C-C0235D4A8651}" dt="2023-02-12T13:17:56.193" v="342"/>
        <pc:sldMkLst>
          <pc:docMk/>
          <pc:sldMk cId="3097043110" sldId="3965"/>
        </pc:sldMkLst>
      </pc:sldChg>
      <pc:sldChg chg="modSp mod">
        <pc:chgData name="Sudarshan Chakravarthi" userId="9632d19e-631d-46a5-9e9a-d9cc496f17d0" providerId="ADAL" clId="{2CE186BC-29B8-430F-8B9C-C0235D4A8651}" dt="2021-10-02T16:24:00.527" v="138" actId="404"/>
        <pc:sldMkLst>
          <pc:docMk/>
          <pc:sldMk cId="3632167565" sldId="4115"/>
        </pc:sldMkLst>
        <pc:spChg chg="mod">
          <ac:chgData name="Sudarshan Chakravarthi" userId="9632d19e-631d-46a5-9e9a-d9cc496f17d0" providerId="ADAL" clId="{2CE186BC-29B8-430F-8B9C-C0235D4A8651}" dt="2021-10-02T16:24:00.527" v="138" actId="404"/>
          <ac:spMkLst>
            <pc:docMk/>
            <pc:sldMk cId="3632167565" sldId="4115"/>
            <ac:spMk id="7" creationId="{515E27D4-6BB9-4E10-80DB-F618CEDE8109}"/>
          </ac:spMkLst>
        </pc:spChg>
      </pc:sldChg>
      <pc:sldChg chg="addSp delSp modSp add del mod">
        <pc:chgData name="Sudarshan Chakravarthi" userId="9632d19e-631d-46a5-9e9a-d9cc496f17d0" providerId="ADAL" clId="{2CE186BC-29B8-430F-8B9C-C0235D4A8651}" dt="2023-02-12T13:19:35.239" v="415" actId="207"/>
        <pc:sldMkLst>
          <pc:docMk/>
          <pc:sldMk cId="43270218" sldId="4212"/>
        </pc:sldMkLst>
        <pc:spChg chg="mod">
          <ac:chgData name="Sudarshan Chakravarthi" userId="9632d19e-631d-46a5-9e9a-d9cc496f17d0" providerId="ADAL" clId="{2CE186BC-29B8-430F-8B9C-C0235D4A8651}" dt="2023-02-12T13:19:23.170" v="414" actId="207"/>
          <ac:spMkLst>
            <pc:docMk/>
            <pc:sldMk cId="43270218" sldId="4212"/>
            <ac:spMk id="3" creationId="{F34DA4CE-ABCE-2F6D-B94E-A68057C7C955}"/>
          </ac:spMkLst>
        </pc:spChg>
        <pc:spChg chg="mod">
          <ac:chgData name="Sudarshan Chakravarthi" userId="9632d19e-631d-46a5-9e9a-d9cc496f17d0" providerId="ADAL" clId="{2CE186BC-29B8-430F-8B9C-C0235D4A8651}" dt="2023-02-12T13:19:35.239" v="415" actId="207"/>
          <ac:spMkLst>
            <pc:docMk/>
            <pc:sldMk cId="43270218" sldId="4212"/>
            <ac:spMk id="22" creationId="{257944EF-C325-87E6-F497-106A27C993F0}"/>
          </ac:spMkLst>
        </pc:spChg>
        <pc:spChg chg="mod">
          <ac:chgData name="Sudarshan Chakravarthi" userId="9632d19e-631d-46a5-9e9a-d9cc496f17d0" providerId="ADAL" clId="{2CE186BC-29B8-430F-8B9C-C0235D4A8651}" dt="2023-02-12T13:19:35.239" v="415" actId="207"/>
          <ac:spMkLst>
            <pc:docMk/>
            <pc:sldMk cId="43270218" sldId="4212"/>
            <ac:spMk id="23" creationId="{835E8B50-E3AF-B133-2E1A-DAD76F64E6D3}"/>
          </ac:spMkLst>
        </pc:spChg>
        <pc:spChg chg="del">
          <ac:chgData name="Sudarshan Chakravarthi" userId="9632d19e-631d-46a5-9e9a-d9cc496f17d0" providerId="ADAL" clId="{2CE186BC-29B8-430F-8B9C-C0235D4A8651}" dt="2023-02-12T13:18:42.799" v="405" actId="478"/>
          <ac:spMkLst>
            <pc:docMk/>
            <pc:sldMk cId="43270218" sldId="4212"/>
            <ac:spMk id="26" creationId="{588D0D88-DFF1-A572-E341-2FEEE268367A}"/>
          </ac:spMkLst>
        </pc:spChg>
        <pc:grpChg chg="del">
          <ac:chgData name="Sudarshan Chakravarthi" userId="9632d19e-631d-46a5-9e9a-d9cc496f17d0" providerId="ADAL" clId="{2CE186BC-29B8-430F-8B9C-C0235D4A8651}" dt="2023-02-12T13:18:53.588" v="408" actId="478"/>
          <ac:grpSpMkLst>
            <pc:docMk/>
            <pc:sldMk cId="43270218" sldId="4212"/>
            <ac:grpSpMk id="6" creationId="{5D49BAE4-1101-F468-F2EA-10D04D313670}"/>
          </ac:grpSpMkLst>
        </pc:grpChg>
        <pc:picChg chg="add mod">
          <ac:chgData name="Sudarshan Chakravarthi" userId="9632d19e-631d-46a5-9e9a-d9cc496f17d0" providerId="ADAL" clId="{2CE186BC-29B8-430F-8B9C-C0235D4A8651}" dt="2023-02-12T13:18:51.323" v="407" actId="1076"/>
          <ac:picMkLst>
            <pc:docMk/>
            <pc:sldMk cId="43270218" sldId="4212"/>
            <ac:picMk id="2" creationId="{78A9252D-3EB8-8008-213E-C91642FFACB8}"/>
          </ac:picMkLst>
        </pc:picChg>
        <pc:picChg chg="del">
          <ac:chgData name="Sudarshan Chakravarthi" userId="9632d19e-631d-46a5-9e9a-d9cc496f17d0" providerId="ADAL" clId="{2CE186BC-29B8-430F-8B9C-C0235D4A8651}" dt="2023-02-12T13:18:42.799" v="405" actId="478"/>
          <ac:picMkLst>
            <pc:docMk/>
            <pc:sldMk cId="43270218" sldId="4212"/>
            <ac:picMk id="25" creationId="{960528F7-B3CB-A0CB-1D3E-19E13929E626}"/>
          </ac:picMkLst>
        </pc:picChg>
      </pc:sldChg>
      <pc:sldChg chg="addSp modSp del mod">
        <pc:chgData name="Sudarshan Chakravarthi" userId="9632d19e-631d-46a5-9e9a-d9cc496f17d0" providerId="ADAL" clId="{2CE186BC-29B8-430F-8B9C-C0235D4A8651}" dt="2023-02-12T13:18:57.622" v="409" actId="47"/>
        <pc:sldMkLst>
          <pc:docMk/>
          <pc:sldMk cId="3859267428" sldId="4222"/>
        </pc:sldMkLst>
        <pc:picChg chg="add mod modCrop">
          <ac:chgData name="Sudarshan Chakravarthi" userId="9632d19e-631d-46a5-9e9a-d9cc496f17d0" providerId="ADAL" clId="{2CE186BC-29B8-430F-8B9C-C0235D4A8651}" dt="2021-10-05T08:06:09.835" v="339" actId="1076"/>
          <ac:picMkLst>
            <pc:docMk/>
            <pc:sldMk cId="3859267428" sldId="4222"/>
            <ac:picMk id="3" creationId="{CBD8B152-AFCC-4DD9-A440-648B5A74465D}"/>
          </ac:picMkLst>
        </pc:picChg>
      </pc:sldChg>
      <pc:sldChg chg="modSp mod">
        <pc:chgData name="Sudarshan Chakravarthi" userId="9632d19e-631d-46a5-9e9a-d9cc496f17d0" providerId="ADAL" clId="{2CE186BC-29B8-430F-8B9C-C0235D4A8651}" dt="2021-10-02T16:33:54.820" v="324" actId="404"/>
        <pc:sldMkLst>
          <pc:docMk/>
          <pc:sldMk cId="2243554593" sldId="4223"/>
        </pc:sldMkLst>
        <pc:spChg chg="mod">
          <ac:chgData name="Sudarshan Chakravarthi" userId="9632d19e-631d-46a5-9e9a-d9cc496f17d0" providerId="ADAL" clId="{2CE186BC-29B8-430F-8B9C-C0235D4A8651}" dt="2021-10-02T16:26:10.113" v="289" actId="2711"/>
          <ac:spMkLst>
            <pc:docMk/>
            <pc:sldMk cId="2243554593" sldId="4223"/>
            <ac:spMk id="11" creationId="{961C1A6E-1555-4066-AC58-A7A5A042833C}"/>
          </ac:spMkLst>
        </pc:spChg>
        <pc:spChg chg="mod">
          <ac:chgData name="Sudarshan Chakravarthi" userId="9632d19e-631d-46a5-9e9a-d9cc496f17d0" providerId="ADAL" clId="{2CE186BC-29B8-430F-8B9C-C0235D4A8651}" dt="2021-10-02T16:26:24.985" v="291" actId="255"/>
          <ac:spMkLst>
            <pc:docMk/>
            <pc:sldMk cId="2243554593" sldId="4223"/>
            <ac:spMk id="12" creationId="{5024217B-D13C-4221-9671-8B2032894A6B}"/>
          </ac:spMkLst>
        </pc:spChg>
        <pc:spChg chg="mod">
          <ac:chgData name="Sudarshan Chakravarthi" userId="9632d19e-631d-46a5-9e9a-d9cc496f17d0" providerId="ADAL" clId="{2CE186BC-29B8-430F-8B9C-C0235D4A8651}" dt="2021-10-02T16:26:24.985" v="291" actId="255"/>
          <ac:spMkLst>
            <pc:docMk/>
            <pc:sldMk cId="2243554593" sldId="4223"/>
            <ac:spMk id="14" creationId="{34E3C12D-4213-4A5C-B132-635608279468}"/>
          </ac:spMkLst>
        </pc:spChg>
        <pc:spChg chg="mod">
          <ac:chgData name="Sudarshan Chakravarthi" userId="9632d19e-631d-46a5-9e9a-d9cc496f17d0" providerId="ADAL" clId="{2CE186BC-29B8-430F-8B9C-C0235D4A8651}" dt="2021-10-02T16:26:24.985" v="291" actId="255"/>
          <ac:spMkLst>
            <pc:docMk/>
            <pc:sldMk cId="2243554593" sldId="4223"/>
            <ac:spMk id="16" creationId="{17DBA1D8-9912-436B-AB1C-80EA3C008981}"/>
          </ac:spMkLst>
        </pc:spChg>
        <pc:spChg chg="mod">
          <ac:chgData name="Sudarshan Chakravarthi" userId="9632d19e-631d-46a5-9e9a-d9cc496f17d0" providerId="ADAL" clId="{2CE186BC-29B8-430F-8B9C-C0235D4A8651}" dt="2021-10-02T16:26:24.985" v="291" actId="255"/>
          <ac:spMkLst>
            <pc:docMk/>
            <pc:sldMk cId="2243554593" sldId="4223"/>
            <ac:spMk id="18" creationId="{19A80632-94A0-4DA9-932E-071B6DD854B8}"/>
          </ac:spMkLst>
        </pc:spChg>
        <pc:spChg chg="mod">
          <ac:chgData name="Sudarshan Chakravarthi" userId="9632d19e-631d-46a5-9e9a-d9cc496f17d0" providerId="ADAL" clId="{2CE186BC-29B8-430F-8B9C-C0235D4A8651}" dt="2021-10-02T16:26:24.985" v="291" actId="255"/>
          <ac:spMkLst>
            <pc:docMk/>
            <pc:sldMk cId="2243554593" sldId="4223"/>
            <ac:spMk id="20" creationId="{76753DCD-A64F-43F9-8DD3-CC384C254B3D}"/>
          </ac:spMkLst>
        </pc:spChg>
        <pc:spChg chg="mod">
          <ac:chgData name="Sudarshan Chakravarthi" userId="9632d19e-631d-46a5-9e9a-d9cc496f17d0" providerId="ADAL" clId="{2CE186BC-29B8-430F-8B9C-C0235D4A8651}" dt="2021-10-02T16:26:24.985" v="291" actId="255"/>
          <ac:spMkLst>
            <pc:docMk/>
            <pc:sldMk cId="2243554593" sldId="4223"/>
            <ac:spMk id="22" creationId="{13598522-BBFF-4276-8A65-430A16C548CE}"/>
          </ac:spMkLst>
        </pc:spChg>
        <pc:spChg chg="mod">
          <ac:chgData name="Sudarshan Chakravarthi" userId="9632d19e-631d-46a5-9e9a-d9cc496f17d0" providerId="ADAL" clId="{2CE186BC-29B8-430F-8B9C-C0235D4A8651}" dt="2021-10-02T16:26:24.985" v="291" actId="255"/>
          <ac:spMkLst>
            <pc:docMk/>
            <pc:sldMk cId="2243554593" sldId="4223"/>
            <ac:spMk id="24" creationId="{F97AC35D-E085-4737-A583-50EFC01C29C2}"/>
          </ac:spMkLst>
        </pc:spChg>
        <pc:spChg chg="mod">
          <ac:chgData name="Sudarshan Chakravarthi" userId="9632d19e-631d-46a5-9e9a-d9cc496f17d0" providerId="ADAL" clId="{2CE186BC-29B8-430F-8B9C-C0235D4A8651}" dt="2021-10-02T16:26:24.985" v="291" actId="255"/>
          <ac:spMkLst>
            <pc:docMk/>
            <pc:sldMk cId="2243554593" sldId="4223"/>
            <ac:spMk id="26" creationId="{A5B7B04C-E91C-46B1-A6FA-0430130B75A7}"/>
          </ac:spMkLst>
        </pc:spChg>
        <pc:spChg chg="mod">
          <ac:chgData name="Sudarshan Chakravarthi" userId="9632d19e-631d-46a5-9e9a-d9cc496f17d0" providerId="ADAL" clId="{2CE186BC-29B8-430F-8B9C-C0235D4A8651}" dt="2021-10-02T16:26:24.985" v="291" actId="255"/>
          <ac:spMkLst>
            <pc:docMk/>
            <pc:sldMk cId="2243554593" sldId="4223"/>
            <ac:spMk id="28" creationId="{70A29043-B6F0-430B-A445-5927823EB85B}"/>
          </ac:spMkLst>
        </pc:spChg>
        <pc:spChg chg="mod">
          <ac:chgData name="Sudarshan Chakravarthi" userId="9632d19e-631d-46a5-9e9a-d9cc496f17d0" providerId="ADAL" clId="{2CE186BC-29B8-430F-8B9C-C0235D4A8651}" dt="2021-10-02T16:26:24.985" v="291" actId="255"/>
          <ac:spMkLst>
            <pc:docMk/>
            <pc:sldMk cId="2243554593" sldId="4223"/>
            <ac:spMk id="30" creationId="{FB4E9F46-01FD-453D-A8EC-1B9021F27551}"/>
          </ac:spMkLst>
        </pc:spChg>
        <pc:spChg chg="mod">
          <ac:chgData name="Sudarshan Chakravarthi" userId="9632d19e-631d-46a5-9e9a-d9cc496f17d0" providerId="ADAL" clId="{2CE186BC-29B8-430F-8B9C-C0235D4A8651}" dt="2021-10-02T16:26:10.113" v="289" actId="2711"/>
          <ac:spMkLst>
            <pc:docMk/>
            <pc:sldMk cId="2243554593" sldId="4223"/>
            <ac:spMk id="31" creationId="{1EC97D0B-7628-4AF3-9BDB-AED4464AE078}"/>
          </ac:spMkLst>
        </pc:spChg>
        <pc:spChg chg="mod">
          <ac:chgData name="Sudarshan Chakravarthi" userId="9632d19e-631d-46a5-9e9a-d9cc496f17d0" providerId="ADAL" clId="{2CE186BC-29B8-430F-8B9C-C0235D4A8651}" dt="2021-10-02T16:26:24.985" v="291" actId="255"/>
          <ac:spMkLst>
            <pc:docMk/>
            <pc:sldMk cId="2243554593" sldId="4223"/>
            <ac:spMk id="32" creationId="{44799861-C751-45C5-BD1C-7E2D7DF9823A}"/>
          </ac:spMkLst>
        </pc:spChg>
        <pc:spChg chg="mod">
          <ac:chgData name="Sudarshan Chakravarthi" userId="9632d19e-631d-46a5-9e9a-d9cc496f17d0" providerId="ADAL" clId="{2CE186BC-29B8-430F-8B9C-C0235D4A8651}" dt="2021-10-02T16:26:24.985" v="291" actId="255"/>
          <ac:spMkLst>
            <pc:docMk/>
            <pc:sldMk cId="2243554593" sldId="4223"/>
            <ac:spMk id="34" creationId="{8154B33E-EDF4-453E-ADEF-B7599869CAB6}"/>
          </ac:spMkLst>
        </pc:spChg>
        <pc:spChg chg="mod">
          <ac:chgData name="Sudarshan Chakravarthi" userId="9632d19e-631d-46a5-9e9a-d9cc496f17d0" providerId="ADAL" clId="{2CE186BC-29B8-430F-8B9C-C0235D4A8651}" dt="2021-10-02T16:26:24.985" v="291" actId="255"/>
          <ac:spMkLst>
            <pc:docMk/>
            <pc:sldMk cId="2243554593" sldId="4223"/>
            <ac:spMk id="36" creationId="{884FB8F9-9479-44AD-8FA7-292AAACEE5D0}"/>
          </ac:spMkLst>
        </pc:spChg>
        <pc:spChg chg="mod">
          <ac:chgData name="Sudarshan Chakravarthi" userId="9632d19e-631d-46a5-9e9a-d9cc496f17d0" providerId="ADAL" clId="{2CE186BC-29B8-430F-8B9C-C0235D4A8651}" dt="2021-10-02T16:26:24.985" v="291" actId="255"/>
          <ac:spMkLst>
            <pc:docMk/>
            <pc:sldMk cId="2243554593" sldId="4223"/>
            <ac:spMk id="38" creationId="{487D0531-3C62-4C04-B3F4-E0C54B7CCDE4}"/>
          </ac:spMkLst>
        </pc:spChg>
        <pc:spChg chg="mod">
          <ac:chgData name="Sudarshan Chakravarthi" userId="9632d19e-631d-46a5-9e9a-d9cc496f17d0" providerId="ADAL" clId="{2CE186BC-29B8-430F-8B9C-C0235D4A8651}" dt="2021-10-02T16:26:24.985" v="291" actId="255"/>
          <ac:spMkLst>
            <pc:docMk/>
            <pc:sldMk cId="2243554593" sldId="4223"/>
            <ac:spMk id="40" creationId="{6C92B6C8-77AB-448C-A168-48C23A70A60E}"/>
          </ac:spMkLst>
        </pc:spChg>
        <pc:spChg chg="mod">
          <ac:chgData name="Sudarshan Chakravarthi" userId="9632d19e-631d-46a5-9e9a-d9cc496f17d0" providerId="ADAL" clId="{2CE186BC-29B8-430F-8B9C-C0235D4A8651}" dt="2021-10-02T16:26:24.985" v="291" actId="255"/>
          <ac:spMkLst>
            <pc:docMk/>
            <pc:sldMk cId="2243554593" sldId="4223"/>
            <ac:spMk id="42" creationId="{F02848F9-0DE0-45A5-A98F-D380ACCA9EC0}"/>
          </ac:spMkLst>
        </pc:spChg>
        <pc:spChg chg="mod">
          <ac:chgData name="Sudarshan Chakravarthi" userId="9632d19e-631d-46a5-9e9a-d9cc496f17d0" providerId="ADAL" clId="{2CE186BC-29B8-430F-8B9C-C0235D4A8651}" dt="2021-10-02T16:26:24.985" v="291" actId="255"/>
          <ac:spMkLst>
            <pc:docMk/>
            <pc:sldMk cId="2243554593" sldId="4223"/>
            <ac:spMk id="44" creationId="{421CB36E-1020-4084-ABE0-E881332D7A46}"/>
          </ac:spMkLst>
        </pc:spChg>
        <pc:spChg chg="mod">
          <ac:chgData name="Sudarshan Chakravarthi" userId="9632d19e-631d-46a5-9e9a-d9cc496f17d0" providerId="ADAL" clId="{2CE186BC-29B8-430F-8B9C-C0235D4A8651}" dt="2021-10-02T16:26:24.985" v="291" actId="255"/>
          <ac:spMkLst>
            <pc:docMk/>
            <pc:sldMk cId="2243554593" sldId="4223"/>
            <ac:spMk id="46" creationId="{CCFB1432-46AD-431B-A658-F66252B9D1FE}"/>
          </ac:spMkLst>
        </pc:spChg>
        <pc:spChg chg="mod">
          <ac:chgData name="Sudarshan Chakravarthi" userId="9632d19e-631d-46a5-9e9a-d9cc496f17d0" providerId="ADAL" clId="{2CE186BC-29B8-430F-8B9C-C0235D4A8651}" dt="2021-10-02T16:26:24.985" v="291" actId="255"/>
          <ac:spMkLst>
            <pc:docMk/>
            <pc:sldMk cId="2243554593" sldId="4223"/>
            <ac:spMk id="48" creationId="{E12A0A72-7DCC-4A97-A211-CF1FA29A6BAD}"/>
          </ac:spMkLst>
        </pc:spChg>
        <pc:spChg chg="mod">
          <ac:chgData name="Sudarshan Chakravarthi" userId="9632d19e-631d-46a5-9e9a-d9cc496f17d0" providerId="ADAL" clId="{2CE186BC-29B8-430F-8B9C-C0235D4A8651}" dt="2021-10-02T16:26:24.985" v="291" actId="255"/>
          <ac:spMkLst>
            <pc:docMk/>
            <pc:sldMk cId="2243554593" sldId="4223"/>
            <ac:spMk id="50" creationId="{B0FB503D-766A-4B5A-9FAF-EE19DD4A2900}"/>
          </ac:spMkLst>
        </pc:spChg>
        <pc:spChg chg="mod">
          <ac:chgData name="Sudarshan Chakravarthi" userId="9632d19e-631d-46a5-9e9a-d9cc496f17d0" providerId="ADAL" clId="{2CE186BC-29B8-430F-8B9C-C0235D4A8651}" dt="2021-10-02T16:26:10.113" v="289" actId="2711"/>
          <ac:spMkLst>
            <pc:docMk/>
            <pc:sldMk cId="2243554593" sldId="4223"/>
            <ac:spMk id="52" creationId="{DE434E01-68BA-4A7F-9638-DE246D24476E}"/>
          </ac:spMkLst>
        </pc:spChg>
        <pc:spChg chg="mod">
          <ac:chgData name="Sudarshan Chakravarthi" userId="9632d19e-631d-46a5-9e9a-d9cc496f17d0" providerId="ADAL" clId="{2CE186BC-29B8-430F-8B9C-C0235D4A8651}" dt="2021-10-02T16:26:10.113" v="289" actId="2711"/>
          <ac:spMkLst>
            <pc:docMk/>
            <pc:sldMk cId="2243554593" sldId="4223"/>
            <ac:spMk id="54" creationId="{63486767-7969-4899-B27E-893E19D72EE6}"/>
          </ac:spMkLst>
        </pc:spChg>
        <pc:spChg chg="mod">
          <ac:chgData name="Sudarshan Chakravarthi" userId="9632d19e-631d-46a5-9e9a-d9cc496f17d0" providerId="ADAL" clId="{2CE186BC-29B8-430F-8B9C-C0235D4A8651}" dt="2021-10-02T16:26:10.113" v="289" actId="2711"/>
          <ac:spMkLst>
            <pc:docMk/>
            <pc:sldMk cId="2243554593" sldId="4223"/>
            <ac:spMk id="56" creationId="{A68D1F34-E655-41A4-B44B-01B50578142B}"/>
          </ac:spMkLst>
        </pc:spChg>
        <pc:graphicFrameChg chg="modGraphic">
          <ac:chgData name="Sudarshan Chakravarthi" userId="9632d19e-631d-46a5-9e9a-d9cc496f17d0" providerId="ADAL" clId="{2CE186BC-29B8-430F-8B9C-C0235D4A8651}" dt="2021-10-02T16:33:02.827" v="317" actId="2711"/>
          <ac:graphicFrameMkLst>
            <pc:docMk/>
            <pc:sldMk cId="2243554593" sldId="4223"/>
            <ac:graphicFrameMk id="7" creationId="{0FABC501-C69B-423A-9A66-F3FB88F796D5}"/>
          </ac:graphicFrameMkLst>
        </pc:graphicFrameChg>
        <pc:graphicFrameChg chg="modGraphic">
          <ac:chgData name="Sudarshan Chakravarthi" userId="9632d19e-631d-46a5-9e9a-d9cc496f17d0" providerId="ADAL" clId="{2CE186BC-29B8-430F-8B9C-C0235D4A8651}" dt="2021-10-02T16:33:54.820" v="324" actId="404"/>
          <ac:graphicFrameMkLst>
            <pc:docMk/>
            <pc:sldMk cId="2243554593" sldId="4223"/>
            <ac:graphicFrameMk id="9" creationId="{54C95F76-4806-4327-A0B9-863586AD4BCD}"/>
          </ac:graphicFrameMkLst>
        </pc:graphicFrameChg>
      </pc:sldChg>
      <pc:sldChg chg="del">
        <pc:chgData name="Sudarshan Chakravarthi" userId="9632d19e-631d-46a5-9e9a-d9cc496f17d0" providerId="ADAL" clId="{2CE186BC-29B8-430F-8B9C-C0235D4A8651}" dt="2023-02-12T13:19:16.084" v="413" actId="47"/>
        <pc:sldMkLst>
          <pc:docMk/>
          <pc:sldMk cId="2686806075" sldId="4224"/>
        </pc:sldMkLst>
      </pc:sldChg>
      <pc:sldChg chg="add del">
        <pc:chgData name="Sudarshan Chakravarthi" userId="9632d19e-631d-46a5-9e9a-d9cc496f17d0" providerId="ADAL" clId="{2CE186BC-29B8-430F-8B9C-C0235D4A8651}" dt="2023-02-12T13:17:56.193" v="342"/>
        <pc:sldMkLst>
          <pc:docMk/>
          <pc:sldMk cId="683501595" sldId="4411"/>
        </pc:sldMkLst>
      </pc:sldChg>
      <pc:sldChg chg="add del">
        <pc:chgData name="Sudarshan Chakravarthi" userId="9632d19e-631d-46a5-9e9a-d9cc496f17d0" providerId="ADAL" clId="{2CE186BC-29B8-430F-8B9C-C0235D4A8651}" dt="2023-02-12T13:17:56.193" v="342"/>
        <pc:sldMkLst>
          <pc:docMk/>
          <pc:sldMk cId="2434400758" sldId="4412"/>
        </pc:sldMkLst>
      </pc:sldChg>
      <pc:sldChg chg="add del">
        <pc:chgData name="Sudarshan Chakravarthi" userId="9632d19e-631d-46a5-9e9a-d9cc496f17d0" providerId="ADAL" clId="{2CE186BC-29B8-430F-8B9C-C0235D4A8651}" dt="2023-02-12T13:19:14.124" v="411"/>
        <pc:sldMkLst>
          <pc:docMk/>
          <pc:sldMk cId="2509472421" sldId="4413"/>
        </pc:sldMkLst>
      </pc:sldChg>
      <pc:sldChg chg="add del">
        <pc:chgData name="Sudarshan Chakravarthi" userId="9632d19e-631d-46a5-9e9a-d9cc496f17d0" providerId="ADAL" clId="{2CE186BC-29B8-430F-8B9C-C0235D4A8651}" dt="2023-02-12T13:19:48.816" v="419" actId="47"/>
        <pc:sldMkLst>
          <pc:docMk/>
          <pc:sldMk cId="2693867255" sldId="4413"/>
        </pc:sldMkLst>
      </pc:sldChg>
      <pc:sldChg chg="add">
        <pc:chgData name="Sudarshan Chakravarthi" userId="9632d19e-631d-46a5-9e9a-d9cc496f17d0" providerId="ADAL" clId="{2CE186BC-29B8-430F-8B9C-C0235D4A8651}" dt="2023-02-12T13:19:45.501" v="418"/>
        <pc:sldMkLst>
          <pc:docMk/>
          <pc:sldMk cId="2122505013" sldId="4414"/>
        </pc:sldMkLst>
      </pc:sldChg>
      <pc:sldChg chg="add del">
        <pc:chgData name="Sudarshan Chakravarthi" userId="9632d19e-631d-46a5-9e9a-d9cc496f17d0" providerId="ADAL" clId="{2CE186BC-29B8-430F-8B9C-C0235D4A8651}" dt="2023-02-12T13:19:45.490" v="417"/>
        <pc:sldMkLst>
          <pc:docMk/>
          <pc:sldMk cId="3523922400" sldId="4414"/>
        </pc:sldMkLst>
      </pc:sldChg>
      <pc:sldMasterChg chg="del delSldLayout">
        <pc:chgData name="Sudarshan Chakravarthi" userId="9632d19e-631d-46a5-9e9a-d9cc496f17d0" providerId="ADAL" clId="{2CE186BC-29B8-430F-8B9C-C0235D4A8651}" dt="2023-02-12T13:19:16.084" v="413" actId="47"/>
        <pc:sldMasterMkLst>
          <pc:docMk/>
          <pc:sldMasterMk cId="3817713959" sldId="2147483665"/>
        </pc:sldMasterMkLst>
        <pc:sldLayoutChg chg="del">
          <pc:chgData name="Sudarshan Chakravarthi" userId="9632d19e-631d-46a5-9e9a-d9cc496f17d0" providerId="ADAL" clId="{2CE186BC-29B8-430F-8B9C-C0235D4A8651}" dt="2023-02-12T13:19:16.084" v="413" actId="47"/>
          <pc:sldLayoutMkLst>
            <pc:docMk/>
            <pc:sldMasterMk cId="3817713959" sldId="2147483665"/>
            <pc:sldLayoutMk cId="4084799685" sldId="2147483666"/>
          </pc:sldLayoutMkLst>
        </pc:sldLayoutChg>
        <pc:sldLayoutChg chg="del">
          <pc:chgData name="Sudarshan Chakravarthi" userId="9632d19e-631d-46a5-9e9a-d9cc496f17d0" providerId="ADAL" clId="{2CE186BC-29B8-430F-8B9C-C0235D4A8651}" dt="2023-02-12T13:19:16.084" v="413" actId="47"/>
          <pc:sldLayoutMkLst>
            <pc:docMk/>
            <pc:sldMasterMk cId="3817713959" sldId="2147483665"/>
            <pc:sldLayoutMk cId="3148002587" sldId="2147483667"/>
          </pc:sldLayoutMkLst>
        </pc:sldLayoutChg>
        <pc:sldLayoutChg chg="del">
          <pc:chgData name="Sudarshan Chakravarthi" userId="9632d19e-631d-46a5-9e9a-d9cc496f17d0" providerId="ADAL" clId="{2CE186BC-29B8-430F-8B9C-C0235D4A8651}" dt="2023-02-12T13:19:16.084" v="413" actId="47"/>
          <pc:sldLayoutMkLst>
            <pc:docMk/>
            <pc:sldMasterMk cId="3817713959" sldId="2147483665"/>
            <pc:sldLayoutMk cId="454084373" sldId="2147483668"/>
          </pc:sldLayoutMkLst>
        </pc:sldLayoutChg>
        <pc:sldLayoutChg chg="del">
          <pc:chgData name="Sudarshan Chakravarthi" userId="9632d19e-631d-46a5-9e9a-d9cc496f17d0" providerId="ADAL" clId="{2CE186BC-29B8-430F-8B9C-C0235D4A8651}" dt="2023-02-12T13:19:16.084" v="413" actId="47"/>
          <pc:sldLayoutMkLst>
            <pc:docMk/>
            <pc:sldMasterMk cId="3817713959" sldId="2147483665"/>
            <pc:sldLayoutMk cId="797681248" sldId="2147483669"/>
          </pc:sldLayoutMkLst>
        </pc:sldLayoutChg>
        <pc:sldLayoutChg chg="del">
          <pc:chgData name="Sudarshan Chakravarthi" userId="9632d19e-631d-46a5-9e9a-d9cc496f17d0" providerId="ADAL" clId="{2CE186BC-29B8-430F-8B9C-C0235D4A8651}" dt="2023-02-12T13:19:16.084" v="413" actId="47"/>
          <pc:sldLayoutMkLst>
            <pc:docMk/>
            <pc:sldMasterMk cId="3817713959" sldId="2147483665"/>
            <pc:sldLayoutMk cId="3759153484" sldId="2147483670"/>
          </pc:sldLayoutMkLst>
        </pc:sldLayoutChg>
        <pc:sldLayoutChg chg="del">
          <pc:chgData name="Sudarshan Chakravarthi" userId="9632d19e-631d-46a5-9e9a-d9cc496f17d0" providerId="ADAL" clId="{2CE186BC-29B8-430F-8B9C-C0235D4A8651}" dt="2023-02-12T13:19:16.084" v="413" actId="47"/>
          <pc:sldLayoutMkLst>
            <pc:docMk/>
            <pc:sldMasterMk cId="3817713959" sldId="2147483665"/>
            <pc:sldLayoutMk cId="1836433905" sldId="2147483671"/>
          </pc:sldLayoutMkLst>
        </pc:sldLayoutChg>
        <pc:sldLayoutChg chg="del">
          <pc:chgData name="Sudarshan Chakravarthi" userId="9632d19e-631d-46a5-9e9a-d9cc496f17d0" providerId="ADAL" clId="{2CE186BC-29B8-430F-8B9C-C0235D4A8651}" dt="2023-02-12T13:19:16.084" v="413" actId="47"/>
          <pc:sldLayoutMkLst>
            <pc:docMk/>
            <pc:sldMasterMk cId="3817713959" sldId="2147483665"/>
            <pc:sldLayoutMk cId="4089855143" sldId="2147483672"/>
          </pc:sldLayoutMkLst>
        </pc:sldLayoutChg>
        <pc:sldLayoutChg chg="del">
          <pc:chgData name="Sudarshan Chakravarthi" userId="9632d19e-631d-46a5-9e9a-d9cc496f17d0" providerId="ADAL" clId="{2CE186BC-29B8-430F-8B9C-C0235D4A8651}" dt="2023-02-12T13:19:16.084" v="413" actId="47"/>
          <pc:sldLayoutMkLst>
            <pc:docMk/>
            <pc:sldMasterMk cId="3817713959" sldId="2147483665"/>
            <pc:sldLayoutMk cId="2027500399" sldId="2147483673"/>
          </pc:sldLayoutMkLst>
        </pc:sldLayoutChg>
        <pc:sldLayoutChg chg="del">
          <pc:chgData name="Sudarshan Chakravarthi" userId="9632d19e-631d-46a5-9e9a-d9cc496f17d0" providerId="ADAL" clId="{2CE186BC-29B8-430F-8B9C-C0235D4A8651}" dt="2023-02-12T13:19:16.084" v="413" actId="47"/>
          <pc:sldLayoutMkLst>
            <pc:docMk/>
            <pc:sldMasterMk cId="3817713959" sldId="2147483665"/>
            <pc:sldLayoutMk cId="1574572844" sldId="2147483674"/>
          </pc:sldLayoutMkLst>
        </pc:sldLayoutChg>
        <pc:sldLayoutChg chg="del">
          <pc:chgData name="Sudarshan Chakravarthi" userId="9632d19e-631d-46a5-9e9a-d9cc496f17d0" providerId="ADAL" clId="{2CE186BC-29B8-430F-8B9C-C0235D4A8651}" dt="2023-02-12T13:19:16.084" v="413" actId="47"/>
          <pc:sldLayoutMkLst>
            <pc:docMk/>
            <pc:sldMasterMk cId="3817713959" sldId="2147483665"/>
            <pc:sldLayoutMk cId="1237602285" sldId="2147483675"/>
          </pc:sldLayoutMkLst>
        </pc:sldLayoutChg>
        <pc:sldLayoutChg chg="del">
          <pc:chgData name="Sudarshan Chakravarthi" userId="9632d19e-631d-46a5-9e9a-d9cc496f17d0" providerId="ADAL" clId="{2CE186BC-29B8-430F-8B9C-C0235D4A8651}" dt="2023-02-12T13:19:16.084" v="413" actId="47"/>
          <pc:sldLayoutMkLst>
            <pc:docMk/>
            <pc:sldMasterMk cId="3817713959" sldId="2147483665"/>
            <pc:sldLayoutMk cId="3825510028" sldId="2147483676"/>
          </pc:sldLayoutMkLst>
        </pc:sldLayoutChg>
        <pc:sldLayoutChg chg="del">
          <pc:chgData name="Sudarshan Chakravarthi" userId="9632d19e-631d-46a5-9e9a-d9cc496f17d0" providerId="ADAL" clId="{2CE186BC-29B8-430F-8B9C-C0235D4A8651}" dt="2023-02-12T13:19:16.084" v="413" actId="47"/>
          <pc:sldLayoutMkLst>
            <pc:docMk/>
            <pc:sldMasterMk cId="3817713959" sldId="2147483665"/>
            <pc:sldLayoutMk cId="2074395140" sldId="2147483677"/>
          </pc:sldLayoutMkLst>
        </pc:sldLayoutChg>
        <pc:sldLayoutChg chg="del">
          <pc:chgData name="Sudarshan Chakravarthi" userId="9632d19e-631d-46a5-9e9a-d9cc496f17d0" providerId="ADAL" clId="{2CE186BC-29B8-430F-8B9C-C0235D4A8651}" dt="2023-02-12T13:19:16.084" v="413" actId="47"/>
          <pc:sldLayoutMkLst>
            <pc:docMk/>
            <pc:sldMasterMk cId="3817713959" sldId="2147483665"/>
            <pc:sldLayoutMk cId="1102609992" sldId="2147483678"/>
          </pc:sldLayoutMkLst>
        </pc:sldLayoutChg>
      </pc:sldMasterChg>
    </pc:docChg>
  </pc:docChgLst>
  <pc:docChgLst>
    <pc:chgData name="Sudarshan Chakravarthi" userId="9632d19e-631d-46a5-9e9a-d9cc496f17d0" providerId="ADAL" clId="{F95F0A13-7A11-41FC-9B26-FC79C6DE9526}"/>
    <pc:docChg chg="custSel modSld">
      <pc:chgData name="Sudarshan Chakravarthi" userId="9632d19e-631d-46a5-9e9a-d9cc496f17d0" providerId="ADAL" clId="{F95F0A13-7A11-41FC-9B26-FC79C6DE9526}" dt="2023-07-11T11:17:45.171" v="24"/>
      <pc:docMkLst>
        <pc:docMk/>
      </pc:docMkLst>
      <pc:sldChg chg="modSp mod">
        <pc:chgData name="Sudarshan Chakravarthi" userId="9632d19e-631d-46a5-9e9a-d9cc496f17d0" providerId="ADAL" clId="{F95F0A13-7A11-41FC-9B26-FC79C6DE9526}" dt="2023-07-11T11:15:40.969" v="13" actId="404"/>
        <pc:sldMkLst>
          <pc:docMk/>
          <pc:sldMk cId="3838993883" sldId="256"/>
        </pc:sldMkLst>
        <pc:spChg chg="mod">
          <ac:chgData name="Sudarshan Chakravarthi" userId="9632d19e-631d-46a5-9e9a-d9cc496f17d0" providerId="ADAL" clId="{F95F0A13-7A11-41FC-9B26-FC79C6DE9526}" dt="2023-07-11T11:13:12.048" v="6" actId="404"/>
          <ac:spMkLst>
            <pc:docMk/>
            <pc:sldMk cId="3838993883" sldId="256"/>
            <ac:spMk id="11" creationId="{961C1A6E-1555-4066-AC58-A7A5A042833C}"/>
          </ac:spMkLst>
        </pc:spChg>
        <pc:spChg chg="mod">
          <ac:chgData name="Sudarshan Chakravarthi" userId="9632d19e-631d-46a5-9e9a-d9cc496f17d0" providerId="ADAL" clId="{F95F0A13-7A11-41FC-9B26-FC79C6DE9526}" dt="2023-07-11T11:15:40.969" v="13" actId="404"/>
          <ac:spMkLst>
            <pc:docMk/>
            <pc:sldMk cId="3838993883" sldId="256"/>
            <ac:spMk id="31" creationId="{1EC97D0B-7628-4AF3-9BDB-AED4464AE078}"/>
          </ac:spMkLst>
        </pc:spChg>
        <pc:graphicFrameChg chg="modGraphic">
          <ac:chgData name="Sudarshan Chakravarthi" userId="9632d19e-631d-46a5-9e9a-d9cc496f17d0" providerId="ADAL" clId="{F95F0A13-7A11-41FC-9B26-FC79C6DE9526}" dt="2023-07-11T11:14:26.619" v="10" actId="207"/>
          <ac:graphicFrameMkLst>
            <pc:docMk/>
            <pc:sldMk cId="3838993883" sldId="256"/>
            <ac:graphicFrameMk id="9" creationId="{54C95F76-4806-4327-A0B9-863586AD4BCD}"/>
          </ac:graphicFrameMkLst>
        </pc:graphicFrameChg>
      </pc:sldChg>
      <pc:sldChg chg="modSp mod">
        <pc:chgData name="Sudarshan Chakravarthi" userId="9632d19e-631d-46a5-9e9a-d9cc496f17d0" providerId="ADAL" clId="{F95F0A13-7A11-41FC-9B26-FC79C6DE9526}" dt="2023-07-11T11:17:23.976" v="23" actId="33524"/>
        <pc:sldMkLst>
          <pc:docMk/>
          <pc:sldMk cId="3964202424" sldId="257"/>
        </pc:sldMkLst>
        <pc:spChg chg="mod">
          <ac:chgData name="Sudarshan Chakravarthi" userId="9632d19e-631d-46a5-9e9a-d9cc496f17d0" providerId="ADAL" clId="{F95F0A13-7A11-41FC-9B26-FC79C6DE9526}" dt="2023-07-11T11:12:49.958" v="2" actId="404"/>
          <ac:spMkLst>
            <pc:docMk/>
            <pc:sldMk cId="3964202424" sldId="257"/>
            <ac:spMk id="11" creationId="{961C1A6E-1555-4066-AC58-A7A5A042833C}"/>
          </ac:spMkLst>
        </pc:spChg>
        <pc:spChg chg="mod">
          <ac:chgData name="Sudarshan Chakravarthi" userId="9632d19e-631d-46a5-9e9a-d9cc496f17d0" providerId="ADAL" clId="{F95F0A13-7A11-41FC-9B26-FC79C6DE9526}" dt="2023-07-11T11:16:02.445" v="19" actId="404"/>
          <ac:spMkLst>
            <pc:docMk/>
            <pc:sldMk cId="3964202424" sldId="257"/>
            <ac:spMk id="12" creationId="{BB2D5101-7D0F-4FC8-A333-0341EB348039}"/>
          </ac:spMkLst>
        </pc:spChg>
        <pc:graphicFrameChg chg="modGraphic">
          <ac:chgData name="Sudarshan Chakravarthi" userId="9632d19e-631d-46a5-9e9a-d9cc496f17d0" providerId="ADAL" clId="{F95F0A13-7A11-41FC-9B26-FC79C6DE9526}" dt="2023-07-11T11:17:23.976" v="23" actId="33524"/>
          <ac:graphicFrameMkLst>
            <pc:docMk/>
            <pc:sldMk cId="3964202424" sldId="257"/>
            <ac:graphicFrameMk id="9" creationId="{54C95F76-4806-4327-A0B9-863586AD4BCD}"/>
          </ac:graphicFrameMkLst>
        </pc:graphicFrameChg>
      </pc:sldChg>
      <pc:sldChg chg="modSp mod">
        <pc:chgData name="Sudarshan Chakravarthi" userId="9632d19e-631d-46a5-9e9a-d9cc496f17d0" providerId="ADAL" clId="{F95F0A13-7A11-41FC-9B26-FC79C6DE9526}" dt="2023-07-11T11:16:12.262" v="22" actId="404"/>
        <pc:sldMkLst>
          <pc:docMk/>
          <pc:sldMk cId="3632167565" sldId="4115"/>
        </pc:sldMkLst>
        <pc:spChg chg="mod">
          <ac:chgData name="Sudarshan Chakravarthi" userId="9632d19e-631d-46a5-9e9a-d9cc496f17d0" providerId="ADAL" clId="{F95F0A13-7A11-41FC-9B26-FC79C6DE9526}" dt="2023-07-11T11:16:12.262" v="22" actId="404"/>
          <ac:spMkLst>
            <pc:docMk/>
            <pc:sldMk cId="3632167565" sldId="4115"/>
            <ac:spMk id="7" creationId="{515E27D4-6BB9-4E10-80DB-F618CEDE8109}"/>
          </ac:spMkLst>
        </pc:spChg>
      </pc:sldChg>
      <pc:sldChg chg="addSp modSp">
        <pc:chgData name="Sudarshan Chakravarthi" userId="9632d19e-631d-46a5-9e9a-d9cc496f17d0" providerId="ADAL" clId="{F95F0A13-7A11-41FC-9B26-FC79C6DE9526}" dt="2023-07-11T11:08:29.076" v="0"/>
        <pc:sldMkLst>
          <pc:docMk/>
          <pc:sldMk cId="43270218" sldId="4212"/>
        </pc:sldMkLst>
        <pc:spChg chg="mod">
          <ac:chgData name="Sudarshan Chakravarthi" userId="9632d19e-631d-46a5-9e9a-d9cc496f17d0" providerId="ADAL" clId="{F95F0A13-7A11-41FC-9B26-FC79C6DE9526}" dt="2023-07-11T11:08:29.076" v="0"/>
          <ac:spMkLst>
            <pc:docMk/>
            <pc:sldMk cId="43270218" sldId="4212"/>
            <ac:spMk id="5" creationId="{CD5A0D54-D840-4274-1090-0BB26C02FE0D}"/>
          </ac:spMkLst>
        </pc:spChg>
        <pc:spChg chg="mod">
          <ac:chgData name="Sudarshan Chakravarthi" userId="9632d19e-631d-46a5-9e9a-d9cc496f17d0" providerId="ADAL" clId="{F95F0A13-7A11-41FC-9B26-FC79C6DE9526}" dt="2023-07-11T11:08:29.076" v="0"/>
          <ac:spMkLst>
            <pc:docMk/>
            <pc:sldMk cId="43270218" sldId="4212"/>
            <ac:spMk id="6" creationId="{FA158281-6C6D-3B48-CF9C-CD70B77DA07D}"/>
          </ac:spMkLst>
        </pc:spChg>
        <pc:grpChg chg="add mod">
          <ac:chgData name="Sudarshan Chakravarthi" userId="9632d19e-631d-46a5-9e9a-d9cc496f17d0" providerId="ADAL" clId="{F95F0A13-7A11-41FC-9B26-FC79C6DE9526}" dt="2023-07-11T11:08:29.076" v="0"/>
          <ac:grpSpMkLst>
            <pc:docMk/>
            <pc:sldMk cId="43270218" sldId="4212"/>
            <ac:grpSpMk id="4" creationId="{4BE2041D-F1AA-E148-5282-85DD7F05BBAA}"/>
          </ac:grpSpMkLst>
        </pc:grpChg>
      </pc:sldChg>
      <pc:sldChg chg="modSp mod">
        <pc:chgData name="Sudarshan Chakravarthi" userId="9632d19e-631d-46a5-9e9a-d9cc496f17d0" providerId="ADAL" clId="{F95F0A13-7A11-41FC-9B26-FC79C6DE9526}" dt="2023-07-11T11:15:53.002" v="16" actId="404"/>
        <pc:sldMkLst>
          <pc:docMk/>
          <pc:sldMk cId="2243554593" sldId="4223"/>
        </pc:sldMkLst>
        <pc:spChg chg="mod">
          <ac:chgData name="Sudarshan Chakravarthi" userId="9632d19e-631d-46a5-9e9a-d9cc496f17d0" providerId="ADAL" clId="{F95F0A13-7A11-41FC-9B26-FC79C6DE9526}" dt="2023-07-11T11:13:02.654" v="4" actId="404"/>
          <ac:spMkLst>
            <pc:docMk/>
            <pc:sldMk cId="2243554593" sldId="4223"/>
            <ac:spMk id="11" creationId="{961C1A6E-1555-4066-AC58-A7A5A042833C}"/>
          </ac:spMkLst>
        </pc:spChg>
        <pc:spChg chg="mod">
          <ac:chgData name="Sudarshan Chakravarthi" userId="9632d19e-631d-46a5-9e9a-d9cc496f17d0" providerId="ADAL" clId="{F95F0A13-7A11-41FC-9B26-FC79C6DE9526}" dt="2023-07-11T11:15:53.002" v="16" actId="404"/>
          <ac:spMkLst>
            <pc:docMk/>
            <pc:sldMk cId="2243554593" sldId="4223"/>
            <ac:spMk id="31" creationId="{1EC97D0B-7628-4AF3-9BDB-AED4464AE078}"/>
          </ac:spMkLst>
        </pc:spChg>
      </pc:sldChg>
      <pc:sldChg chg="addSp modSp">
        <pc:chgData name="Sudarshan Chakravarthi" userId="9632d19e-631d-46a5-9e9a-d9cc496f17d0" providerId="ADAL" clId="{F95F0A13-7A11-41FC-9B26-FC79C6DE9526}" dt="2023-07-11T11:17:45.171" v="24"/>
        <pc:sldMkLst>
          <pc:docMk/>
          <pc:sldMk cId="2288165419" sldId="4415"/>
        </pc:sldMkLst>
        <pc:spChg chg="mod">
          <ac:chgData name="Sudarshan Chakravarthi" userId="9632d19e-631d-46a5-9e9a-d9cc496f17d0" providerId="ADAL" clId="{F95F0A13-7A11-41FC-9B26-FC79C6DE9526}" dt="2023-07-11T11:17:45.171" v="24"/>
          <ac:spMkLst>
            <pc:docMk/>
            <pc:sldMk cId="2288165419" sldId="4415"/>
            <ac:spMk id="5" creationId="{5ECA321C-FDAF-0CF6-C0C7-94EE50DFC8A8}"/>
          </ac:spMkLst>
        </pc:spChg>
        <pc:spChg chg="mod">
          <ac:chgData name="Sudarshan Chakravarthi" userId="9632d19e-631d-46a5-9e9a-d9cc496f17d0" providerId="ADAL" clId="{F95F0A13-7A11-41FC-9B26-FC79C6DE9526}" dt="2023-07-11T11:17:45.171" v="24"/>
          <ac:spMkLst>
            <pc:docMk/>
            <pc:sldMk cId="2288165419" sldId="4415"/>
            <ac:spMk id="6" creationId="{BFA6803F-0448-B0F3-3899-06B2A16FD499}"/>
          </ac:spMkLst>
        </pc:spChg>
        <pc:grpChg chg="add mod">
          <ac:chgData name="Sudarshan Chakravarthi" userId="9632d19e-631d-46a5-9e9a-d9cc496f17d0" providerId="ADAL" clId="{F95F0A13-7A11-41FC-9B26-FC79C6DE9526}" dt="2023-07-11T11:17:45.171" v="24"/>
          <ac:grpSpMkLst>
            <pc:docMk/>
            <pc:sldMk cId="2288165419" sldId="4415"/>
            <ac:grpSpMk id="4" creationId="{DC2E2F62-C268-2FD9-0A8B-5BD58D7A90E7}"/>
          </ac:grpSpMkLst>
        </pc:grp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7DAD0F-B96F-4F3A-8197-FEA5FB4522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609E24C-FD51-4753-A040-69405A34BF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23AD153-6743-49C9-8AD8-B3232FCE56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43A00D-DD9E-42AE-970D-4643B62A0B23}" type="datetimeFigureOut">
              <a:rPr lang="en-GB" smtClean="0"/>
              <a:t>11/07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54F779-45B9-445B-8444-6D5BC1D5CF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F91E2D-B7A2-4C79-B1A6-1F99AC3D4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51DB09-F101-4205-ACE4-A075ADE6F6A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96548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0406C3-FC3A-495F-920A-96F372DB0F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B057BF0-8796-46F0-B45F-2092A95F23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3649AC-8EC2-4497-9E4B-50328B8047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43A00D-DD9E-42AE-970D-4643B62A0B23}" type="datetimeFigureOut">
              <a:rPr lang="en-GB" smtClean="0"/>
              <a:t>11/07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E70F48-613E-4565-8960-E5786328F2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BA331A-46CA-4BEA-AE84-2FF6E154A9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51DB09-F101-4205-ACE4-A075ADE6F6A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281062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264F874-6767-4EA6-AEDE-320CB0330BF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669FC13-76BA-4756-AC39-9E5F5D4F05B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9C31E5-D9E5-4C41-9241-B562286CBE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43A00D-DD9E-42AE-970D-4643B62A0B23}" type="datetimeFigureOut">
              <a:rPr lang="en-GB" smtClean="0"/>
              <a:t>11/07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951B20-57EB-4B62-BB3A-FE1B6658DF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EED7E4-66F9-4BF7-89A2-5DEAE3E47D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51DB09-F101-4205-ACE4-A075ADE6F6A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65931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95B5E3D-CB4A-42B4-B4A8-2B0BF3B8AB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4039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95B5E3D-CB4A-42B4-B4A8-2B0BF3B8AB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DA92DAC-F488-43C5-9D7F-27FF4541E3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73071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656D9F-25FA-405A-9022-D20B606256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7263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656D9F-25FA-405A-9022-D20B606256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EE6A1B2-F3BE-47E8-B7AB-BED2735E985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44878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206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ADB49A0-8B85-4CDE-8262-9211F1AFE27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66874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7B69D1-1AC7-4788-B7F1-4214ACF38D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1847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7B69D1-1AC7-4788-B7F1-4214ACF38D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8CC8475-D9DE-4E1C-B79D-4F1693FA344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024755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0578E1-BD64-4D02-872E-13D2F41A80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E8639BB-B7B7-4E1A-BA64-64C73C63CD0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2CFBEF-B580-4B1A-9402-F9DEB948D4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C3E48E-2DF6-4EEA-AD23-8D2F7B8C6FFC}" type="datetime1">
              <a:rPr lang="en-GB" smtClean="0"/>
              <a:t>11/07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5C7C43-F65F-4F5E-AA41-10AE021781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4BEC41F-45A9-4F5D-81A3-B706BF85D7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3774F7-2AC7-4568-9CC0-300334475E4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304715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27364F-67B8-4D12-84DC-0B3CEA0BC6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C16CF8-0890-4471-BBA0-DF92B2A6CD0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EDE0A1-11CD-4AF7-9F6A-234F44D815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DE1C70-34E7-4A8D-98DA-6B1F750968A8}" type="datetime1">
              <a:rPr lang="en-GB" smtClean="0"/>
              <a:t>11/07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1DCF7B-40DF-4612-9EA9-8EEBFC761D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6AE6BF-B5C9-486E-9601-D45776224D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3774F7-2AC7-4568-9CC0-300334475E4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90199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11C08-65A7-4C69-90A3-8F2948BECB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3E2C82-E78F-4D3D-8FFF-9F9E146567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EE3F75D-9D11-415F-B564-05704D14C9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09E652-6F17-412A-953B-D3F725D6A1E4}" type="datetime1">
              <a:rPr lang="en-GB" smtClean="0"/>
              <a:t>11/07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551F54-1715-4F6F-9A0A-2F24C48B7F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EF4F593-FA2A-4281-BCF0-D4D57FBE4D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3774F7-2AC7-4568-9CC0-300334475E4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509540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B02C87-1185-42CB-8E93-7C187E7C93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88ECAC-B632-477E-94C7-66AEF168A4B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33213E3-BD8D-4CC2-9A92-7B7A5562718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F3A0EAC-1828-421E-9D6A-46AA636629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EB8C15-8D42-40F2-90BB-F321ED796121}" type="datetime1">
              <a:rPr lang="en-GB" smtClean="0"/>
              <a:t>11/07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488414-DE33-48EF-ABE0-845D03F955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1D3D64-A330-42FE-B449-55314ECFD6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3774F7-2AC7-4568-9CC0-300334475E4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13941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EE44A8-E888-4F5D-9DC9-800097A8F4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71907B-17C1-441B-A45C-99AA26E8F71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AD2C185-7D78-4E6D-B945-986C7E4A61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43A00D-DD9E-42AE-970D-4643B62A0B23}" type="datetimeFigureOut">
              <a:rPr lang="en-GB" smtClean="0"/>
              <a:t>11/07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5A4694B-2795-46FF-8493-931B75F48B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807274-FD35-49E6-A8B3-18955F7F0E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51DB09-F101-4205-ACE4-A075ADE6F6A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1216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06C22-1F0E-4A65-88BA-EE5058E828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F006FB-8B87-4C31-A706-401E64C72D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D4B784A-6221-4735-BEEA-82A4073A3BA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C97BEBD-C4D3-4091-B852-551F3386688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8588BF9-30C5-48C6-A99F-F410938793F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19B859E-5BE6-4BBA-8103-99B1C232ED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C725E-2A3D-4C81-BFB5-5E64859E51F6}" type="datetime1">
              <a:rPr lang="en-GB" smtClean="0"/>
              <a:t>11/07/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C9CB5BE-6779-44F5-9068-95EC34A871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6091A1D-59DC-40CE-85C5-BEF0BD9E7F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3774F7-2AC7-4568-9CC0-300334475E4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4115497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442F4D-85FB-46B4-931B-DBDEBA1C03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44726AB-2D9E-4D9E-8A65-9180AF18B8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2D0B3-A35C-4946-86AB-FDC56E3F3F02}" type="datetime1">
              <a:rPr lang="en-GB" smtClean="0"/>
              <a:t>11/07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E03FD1E-D9F3-4322-A96A-AE2ACBD23C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3CB34B-09CF-47BA-BB93-A96524F8FE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3774F7-2AC7-4568-9CC0-300334475E4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970323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D60AF9B-F37F-41C1-87F2-30E3606597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FA46EC-D239-4026-AB33-6781825DB9A6}" type="datetime1">
              <a:rPr lang="en-GB" smtClean="0"/>
              <a:t>11/07/2023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2DB2F08-DBF8-4AC5-A48F-64580C42FB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74512A-924B-4128-92C4-E78ED4F5D1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3774F7-2AC7-4568-9CC0-300334475E4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887998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D65D20-B717-4F12-B603-402C01231B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A73B36-41F7-44D4-BC2D-4F4A619635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60723CE-CB82-4319-91E1-C97EFE3DE66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9B0F989-D1AA-4B31-A159-19512ADB0F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358DEB-0B33-4325-AAD2-93CCE233016F}" type="datetime1">
              <a:rPr lang="en-GB" smtClean="0"/>
              <a:t>11/07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1D62B80-11CE-457B-9F0F-668D385961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2C56147-73CB-4165-BD4C-7BD61E4498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3774F7-2AC7-4568-9CC0-300334475E4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5492646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04379D-8372-4AC9-BCF4-AA469AD617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ADE7A35-0BA4-408E-A4C2-DBADB1FC94F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0C724F4-7688-4D83-85F5-0DEA63C1B2A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BF09FCE-6E19-44A6-9001-FB344E8130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CBDC91-4850-4898-8B67-CF60FB04EDD1}" type="datetime1">
              <a:rPr lang="en-GB" smtClean="0"/>
              <a:t>11/07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449DFF6-D42C-42A3-BFBB-C821D1C9C5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398F604-83CC-4EFA-848F-6BA024CD12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3774F7-2AC7-4568-9CC0-300334475E4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936394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270363-ABD3-4D04-AE10-82A9A1FA49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EFC36DC-90A7-4079-9A75-9FE7EF51B4E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911502-D3A2-4E24-81F3-E2DDA0C6A2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C161C9-4B06-4FF1-B690-493545F3E3B1}" type="datetime1">
              <a:rPr lang="en-GB" smtClean="0"/>
              <a:t>11/07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8EF5E4-9F08-4890-BDA5-F4D22D96DE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228FB1-D854-489F-9E6A-00726FFDA9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3774F7-2AC7-4568-9CC0-300334475E4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243777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DA731D4-176C-4990-BF36-0B4F1CD96EA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9A038E3-A86E-4F7E-BD1D-9007D5B70EE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86DCE8-C757-4733-9DAD-3678836AFD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27B61F-5CE4-4014-8408-D9D5A5C8A4CC}" type="datetime1">
              <a:rPr lang="en-GB" smtClean="0"/>
              <a:t>11/07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7AB865-8B90-4411-9392-F138218451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2478F2-F877-4BC8-B520-1EA40C5A29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3774F7-2AC7-4568-9CC0-300334475E4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538724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C867DD-F73F-CAE5-F325-3F6006374A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2D63D3-AA72-389A-4ED6-9E767602D7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8DD0AF-5A66-AB1A-3A94-4046D46AF3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10F6F6-52F1-4BDD-928D-84928DA9612C}" type="datetimeFigureOut">
              <a:rPr lang="en-GB" smtClean="0"/>
              <a:t>11/07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1FCE6F-0ACB-7A70-1941-CB30BA8178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75BFF0-EE3D-39F3-4F56-A6939C3AFD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F2132C-8832-4EB1-97FC-35BD516CA2C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789686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056946-9B08-9C4A-69AC-5F407ADB81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B2CAE8-EF22-92A1-0AD1-8612F7C6E97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AE40AB0-BC3E-DF50-ADB0-C680F160E6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10F6F6-52F1-4BDD-928D-84928DA9612C}" type="datetimeFigureOut">
              <a:rPr lang="en-GB" smtClean="0"/>
              <a:t>11/07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554C201-C3C8-989E-1177-6B970AA160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DF527D8-BE55-F8A0-72CD-3BD30B7497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F2132C-8832-4EB1-97FC-35BD516CA2C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260437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97355A-913B-2387-09AA-F0FD913213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A8E49ED-D81A-99E5-10F7-9A99D26E31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7EAC30-4686-79E8-3040-4AA953DFAC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10F6F6-52F1-4BDD-928D-84928DA9612C}" type="datetimeFigureOut">
              <a:rPr lang="en-GB" smtClean="0"/>
              <a:t>11/07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D3B583-AA79-662A-1815-399BD4ADE1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1513CD-D500-234C-6252-7E045808EB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F2132C-8832-4EB1-97FC-35BD516CA2C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8653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161E24-9B81-4B7C-97CE-88368F4302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93FC97-41D4-4C84-A4C1-A87F22DD74B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75C3C3-0FAD-40B9-ABE2-02E0D5B228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43A00D-DD9E-42AE-970D-4643B62A0B23}" type="datetimeFigureOut">
              <a:rPr lang="en-GB" smtClean="0"/>
              <a:t>11/07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2F5599-2DAB-43C9-A366-4A615CBB0A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37DD31E-282F-4546-8131-AEE2F58807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51DB09-F101-4205-ACE4-A075ADE6F6A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338301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116B76-0F50-4D2F-4DA9-A06854D944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0D2E1D-BF93-B365-B991-353210E75DB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0FF946-5974-1379-52C7-5E197C587F4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0E551B-A662-722E-CFD7-E62F111E9C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10F6F6-52F1-4BDD-928D-84928DA9612C}" type="datetimeFigureOut">
              <a:rPr lang="en-GB" smtClean="0"/>
              <a:t>11/07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91AA349-0BC9-1221-1764-FADB29104B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74BA6B4-4C97-35DE-432B-5607FBCCBB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F2132C-8832-4EB1-97FC-35BD516CA2C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219416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6E0ED3-D493-C3DB-532A-39ED90D283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364F44-5B11-F53F-8DAC-9F34D584AFF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0B13A68-EFCE-54D4-07C2-A727B4AE57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4966FB-0E95-EC49-A163-60175D23213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EEFDBF4-D87D-5C9F-19C4-D666C161105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1638874-DAC4-6C61-C947-AD9774C7A0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10F6F6-52F1-4BDD-928D-84928DA9612C}" type="datetimeFigureOut">
              <a:rPr lang="en-GB" smtClean="0"/>
              <a:t>11/07/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6F8607D-3FE7-1DB1-97B1-0E9700A21E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23A4CC-E926-E7C8-D3E1-5799C22F40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F2132C-8832-4EB1-97FC-35BD516CA2C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97100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B7437E-132E-CC88-1B68-4639DA12A5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BACED2E-97A6-2832-A35C-03BF3E23CA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10F6F6-52F1-4BDD-928D-84928DA9612C}" type="datetimeFigureOut">
              <a:rPr lang="en-GB" smtClean="0"/>
              <a:t>11/07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30BD27F-6B42-0D77-9BEF-87F9B4A66E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873083F-4BAE-1158-0303-353BD4FEE1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F2132C-8832-4EB1-97FC-35BD516CA2C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8443221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D4A496C-79B2-EFAB-DD2C-E3B80D076C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10F6F6-52F1-4BDD-928D-84928DA9612C}" type="datetimeFigureOut">
              <a:rPr lang="en-GB" smtClean="0"/>
              <a:t>11/07/2023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BDF779-298B-FAA7-AE29-755DF0C9C4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AA7C315-AC97-8A11-720E-342C8424B1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F2132C-8832-4EB1-97FC-35BD516CA2C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214040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1CA902-1304-B98A-3676-C49BFD79E8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3EA31ED-7586-1178-86D1-B0AA8B286E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3F05A1-798F-5117-E008-E405447A407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6C77961-4AD2-FA8D-6C9D-BDD18960C3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10F6F6-52F1-4BDD-928D-84928DA9612C}" type="datetimeFigureOut">
              <a:rPr lang="en-GB" smtClean="0"/>
              <a:t>11/07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EDD99F4-1760-9E02-9C56-9601101FCA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418F7F9-AD55-3E62-5DDB-EAEDB99003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F2132C-8832-4EB1-97FC-35BD516CA2C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490137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5EF64C-A79D-DCEF-C6D3-4EA6A1524A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819CF54-E5BD-1A44-568A-715513B6535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71CDD5-7B7B-EE43-CEE3-372BEED4FDD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511CFF5-B353-4E19-5B39-48E6B13D1C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10F6F6-52F1-4BDD-928D-84928DA9612C}" type="datetimeFigureOut">
              <a:rPr lang="en-GB" smtClean="0"/>
              <a:t>11/07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0328EE1-E38D-BA4F-F82D-5CF3C14DC6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E334AB-F545-44E6-98AF-9351108DFC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F2132C-8832-4EB1-97FC-35BD516CA2C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814825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805C36-C726-E489-6D38-31111EEC33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2C23EAF-5BC2-263E-5353-A90B383D2D4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A4544FE-DBC4-B631-BAAF-B73410A220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10F6F6-52F1-4BDD-928D-84928DA9612C}" type="datetimeFigureOut">
              <a:rPr lang="en-GB" smtClean="0"/>
              <a:t>11/07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47238E-CC12-E59D-4CF3-0D896579A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048944-7057-CCAD-CE6D-0CC462EDA3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F2132C-8832-4EB1-97FC-35BD516CA2C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2996081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B5ED4CD-170F-29DB-A7F1-71367B43FC3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02798F7-BF46-CECF-FAD5-00BA0635087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7E7E535-3BF6-46B2-4919-A229939E97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10F6F6-52F1-4BDD-928D-84928DA9612C}" type="datetimeFigureOut">
              <a:rPr lang="en-GB" smtClean="0"/>
              <a:t>11/07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2B2552-04F9-E402-914B-8CBC4639FF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54DA66-B39F-E200-6823-159A12E91A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F2132C-8832-4EB1-97FC-35BD516CA2C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767709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5C098C1-71E8-4B22-B2ED-200417BF5E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4D579B-3C01-4188-BC9A-FF71DCE709C8}" type="datetime1">
              <a:rPr lang="en-GB" smtClean="0"/>
              <a:t>11/07/2023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1598FBE-4FFC-42E7-97AB-C068B7F1CD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upskilPRO.co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54B076-789E-4240-860A-FA7AF84A90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8828D9-3E6A-477F-A491-AADAE3613DD2}" type="slidenum">
              <a:rPr lang="en-GB" smtClean="0"/>
              <a:t>‹#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441F8CE-FA45-4203-92AB-40694511E1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84904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A12110-62F5-CBC7-6451-CEB9BE1F417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9BBA88C-1F28-BA95-9FFF-AED3FE741E1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1158B7-8DF5-8008-32A2-292CAA4579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A47241-72D1-41DA-A1F5-62F743661E55}" type="datetimeFigureOut">
              <a:rPr lang="en-GB" smtClean="0"/>
              <a:t>11/07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80B5A1-3844-9D7A-646C-E15FCEE33B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674822-46A9-E0D4-05A8-E13A727A14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BB470F-38B5-4B27-9B58-B7FB7DE4DED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75142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4B8358-B6F7-4B44-A03A-34348231A8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7CA006-573A-4432-9803-74F7B95C912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5AF0635-B54D-49CC-B87F-E2DD6F225A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825F1D5-D63A-4658-986D-A12529B06C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43A00D-DD9E-42AE-970D-4643B62A0B23}" type="datetimeFigureOut">
              <a:rPr lang="en-GB" smtClean="0"/>
              <a:t>11/07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C626B6A-608B-4D64-AE88-99764DD1AF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82BDD1F-16B3-4B1B-BD2D-4C2E1E8D43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51DB09-F101-4205-ACE4-A075ADE6F6A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8621866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052440-99F3-1E3F-39BF-6A092B2D0D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567619-ED99-882C-0FFA-1C402EDCF0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A5B5EB-7B7D-3C7C-C015-640C830A30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A47241-72D1-41DA-A1F5-62F743661E55}" type="datetimeFigureOut">
              <a:rPr lang="en-GB" smtClean="0"/>
              <a:t>11/07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637F05-0180-4AF8-BADD-34CDCCF52E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9FB070-6F91-46B4-5083-7945E18F66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BB470F-38B5-4B27-9B58-B7FB7DE4DED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751574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CB9DAD-6D85-0909-7E1C-E5F15B730A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E7C6A60-24F5-B177-CF0D-5C074A185D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4780B2-DCB7-ECB4-EC98-153567C59F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A47241-72D1-41DA-A1F5-62F743661E55}" type="datetimeFigureOut">
              <a:rPr lang="en-GB" smtClean="0"/>
              <a:t>11/07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4DE825-5EEA-FCCD-843D-5C1CD6FB6F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737239-6A66-AA83-5B22-19A038191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BB470F-38B5-4B27-9B58-B7FB7DE4DED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640917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AB6825-0952-7974-F71C-F77C4FEA6D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B4237F-3AA4-EEC6-E97B-33DFA9893CE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2C08A7E-E73D-AE0B-358C-C54FD94F1E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ED7734E-CA8B-C855-D23C-B3BD5B48B3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A47241-72D1-41DA-A1F5-62F743661E55}" type="datetimeFigureOut">
              <a:rPr lang="en-GB" smtClean="0"/>
              <a:t>11/07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FD1E788-6C45-182A-54BE-9F862225DC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4462868-C8DA-02A5-63EC-67F74660F3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BB470F-38B5-4B27-9B58-B7FB7DE4DED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31038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FB7C6D-1F74-6816-64B5-48C959C216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AD73289-CF5A-EB9B-DA65-8C9D2065B8A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8F76DA7-3DBE-5CEF-DF22-4105D827594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0E996E-7155-39CE-86BC-465300DD4A6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972D8B9-2C8F-34DF-5D51-C27EC0126F6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8298D16-140E-ABCC-AA77-05729419A9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A47241-72D1-41DA-A1F5-62F743661E55}" type="datetimeFigureOut">
              <a:rPr lang="en-GB" smtClean="0"/>
              <a:t>11/07/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2972DFD-0E32-F9F8-AC1B-9B04E9D3B3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1DA7AF4-5343-DDEC-379F-D2F6591A73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BB470F-38B5-4B27-9B58-B7FB7DE4DED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059013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8DF3C1-0410-759A-0E61-CA2510AC96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0A32340-CA40-0FC4-1AD9-EFECF79988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A47241-72D1-41DA-A1F5-62F743661E55}" type="datetimeFigureOut">
              <a:rPr lang="en-GB" smtClean="0"/>
              <a:t>11/07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FAC0CC5-FE80-EAD7-53AE-AAE48E0B0F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471E7E-4EB5-380E-C3C7-C11EF2E38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BB470F-38B5-4B27-9B58-B7FB7DE4DED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737896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60283D-FC17-EB66-B76A-0116541514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A47241-72D1-41DA-A1F5-62F743661E55}" type="datetimeFigureOut">
              <a:rPr lang="en-GB" smtClean="0"/>
              <a:t>11/07/2023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C94F76D-282C-645E-12A8-32E6CBEFE2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4DF55BF-A28C-3862-F53C-79795BEDBE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BB470F-38B5-4B27-9B58-B7FB7DE4DED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228013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A0ADB5-E884-86EF-7C4E-9398B510B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DAD1C3-6771-9149-9EBA-C1F1F84540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EFF7B17-370D-8C2A-A6BD-FAD507DF1FD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0F7D32-DC6D-5F6C-6CF2-AC63BEE86A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A47241-72D1-41DA-A1F5-62F743661E55}" type="datetimeFigureOut">
              <a:rPr lang="en-GB" smtClean="0"/>
              <a:t>11/07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FA5973E-AFE8-148D-EE6B-498ACFB9FC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1A94723-7F8E-100B-024B-97782B068F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BB470F-38B5-4B27-9B58-B7FB7DE4DED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1051279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D6D76C-A59B-8637-54B2-F767CAC8E0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856B3BE-B678-2E3F-9392-CBFB5AB6AAD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723843-DC17-BF59-DB44-C7BD28E9BF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4B44ECB-3280-7411-D6DE-8726B4856A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A47241-72D1-41DA-A1F5-62F743661E55}" type="datetimeFigureOut">
              <a:rPr lang="en-GB" smtClean="0"/>
              <a:t>11/07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DE08228-D48C-7DBC-6C4E-EDD69DEF46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D48DBA7-22CF-0A6D-D335-0EA7843A3F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BB470F-38B5-4B27-9B58-B7FB7DE4DED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948395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FD79EF-7F2B-C955-8B05-AC525D48D9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9C57BA8-CD10-1808-17B7-8A0B408D7F7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86E473-B7E6-81D4-57C8-3BDC4FA280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A47241-72D1-41DA-A1F5-62F743661E55}" type="datetimeFigureOut">
              <a:rPr lang="en-GB" smtClean="0"/>
              <a:t>11/07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2356AE-CF64-7D96-EED8-AC72A4942E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0B2F19C-E413-ACCE-4D20-983FC80217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BB470F-38B5-4B27-9B58-B7FB7DE4DED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623146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4673AB6-82F7-A741-65C2-8072DB09A12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F500DE5-0E2B-6661-D2EA-14F8B1D8D73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61605C-D7AA-7F78-E5B0-1A12448BED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A47241-72D1-41DA-A1F5-62F743661E55}" type="datetimeFigureOut">
              <a:rPr lang="en-GB" smtClean="0"/>
              <a:t>11/07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898ABD-0479-3658-07A9-53E61D0B93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4E85DE-3B16-2B56-CE05-1A86964AB5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BB470F-38B5-4B27-9B58-B7FB7DE4DED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12163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4D10D6-C039-4529-92BE-B292CD2AC7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95E244-B5A2-469E-B7ED-ABA63355BE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961B07-8A8B-4A0B-BB63-8DB6C16E938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243002-015E-481B-AD41-A2DFE4C8514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0F90094-4622-461D-B9DB-5B447C8025D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12C47D5-F7B1-46DC-BD7D-623276B2D3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43A00D-DD9E-42AE-970D-4643B62A0B23}" type="datetimeFigureOut">
              <a:rPr lang="en-GB" smtClean="0"/>
              <a:t>11/07/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485C01D-1FCE-475D-9AEE-F504D713FC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1B35C07-D437-4BC8-BEEC-4C7E5677B5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51DB09-F101-4205-ACE4-A075ADE6F6A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21378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067F20-DC2B-4972-8DA0-7088A1AE54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67587C-D30D-4A06-9E8D-70F9BC8311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43A00D-DD9E-42AE-970D-4643B62A0B23}" type="datetimeFigureOut">
              <a:rPr lang="en-GB" smtClean="0"/>
              <a:t>11/07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F3E31F-A0B3-4C78-8C0F-075287F5FA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A88EB6F-31FB-4356-83A0-409217C2C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51DB09-F101-4205-ACE4-A075ADE6F6A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48187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C839459-DABA-4D81-A7AF-76762B8AC8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43A00D-DD9E-42AE-970D-4643B62A0B23}" type="datetimeFigureOut">
              <a:rPr lang="en-GB" smtClean="0"/>
              <a:t>11/07/2023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8B5AB30-CCA5-4B11-BF1F-8223C909FE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7F7F1C-7169-4DFB-832F-938A247F06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51DB09-F101-4205-ACE4-A075ADE6F6A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57158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209D16-4BEC-4F0E-8741-97AB182038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EDF60D-74FC-49AC-912B-8F23BAE95F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BCF92EA-0E75-4B57-9A6A-C497DAD49AE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2ACD5AC-6020-4181-A883-9F05DDEE6D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43A00D-DD9E-42AE-970D-4643B62A0B23}" type="datetimeFigureOut">
              <a:rPr lang="en-GB" smtClean="0"/>
              <a:t>11/07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17B4BFA-0DDF-477B-851F-BA4A6524C7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82914B0-C457-4D24-B93F-39526F1DE9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51DB09-F101-4205-ACE4-A075ADE6F6A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1722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0EFF40-7515-4DA9-86F2-DAC9D80E47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5AE6A0B-3021-4D3D-ADCC-922D10CB1E6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0CF9784-69BF-45D3-ABF8-87DC39DED52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6949351-F33B-4E9D-BF47-0BE45AF171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43A00D-DD9E-42AE-970D-4643B62A0B23}" type="datetimeFigureOut">
              <a:rPr lang="en-GB" smtClean="0"/>
              <a:t>11/07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84DF08B-2BFA-4D3D-849B-1F8736CB1F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AA05CFE-556A-4063-B7D9-9EC5012B0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51DB09-F101-4205-ACE4-A075ADE6F6A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65271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14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1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5700103-6292-4D96-9907-BDB1C50C06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1611FBF-BF25-4330-A48D-EF597B7F0CD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DD88CA-9ED7-40A3-8F73-367E7706FC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43A00D-DD9E-42AE-970D-4643B62A0B23}" type="datetimeFigureOut">
              <a:rPr lang="en-GB" smtClean="0"/>
              <a:t>11/07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489FCB-B96D-4913-8C50-31ACED2984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3BD9E3-490D-404B-BB13-E6FABB994C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151DB09-F101-4205-ACE4-A075ADE6F6A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94622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656226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4" imgH="344" progId="TCLayout.ActiveDocument.1">
                  <p:embed/>
                </p:oleObj>
              </mc:Choice>
              <mc:Fallback>
                <p:oleObj name="think-cell Slide" r:id="rId8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A767ABE-C4E1-4B07-8DB9-34D6A2E637D2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1789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35257CC-3B9E-4E60-B549-D0CB558679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594BB0B-E5BD-4343-87DC-B1E9A25B5FC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BD521B3-C091-4900-AB89-A3D63EE09FB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9F4BB0-F75A-4876-8E0C-E18B9937F52F}" type="datetime1">
              <a:rPr lang="en-GB" smtClean="0"/>
              <a:t>11/07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C9C249-B0EE-4651-924D-58F2CEE391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DE6DA9-8B30-418D-894F-4331A4A27B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3774F7-2AC7-4568-9CC0-300334475E4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974419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32203D0-EBBA-1B6A-ECA8-D38216349E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1092C50-DDB8-45DF-DD33-1FFECC0E63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873341-B16E-234D-D1CD-A6F1BC701D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10F6F6-52F1-4BDD-928D-84928DA9612C}" type="datetimeFigureOut">
              <a:rPr lang="en-GB" smtClean="0"/>
              <a:t>11/07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E3E506-9346-03B2-BF2A-27BDEF44D5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5BF6CA-8846-54D7-282F-88A869D8F1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F2132C-8832-4EB1-97FC-35BD516CA2C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28611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95205D5-9899-A166-96AC-C2DE91664C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537037B-FB2D-7D13-8B6F-132A08F64D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5E662EA-B7EE-E2F2-1C40-B2FA44F7905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A47241-72D1-41DA-A1F5-62F743661E55}" type="datetimeFigureOut">
              <a:rPr lang="en-GB" smtClean="0"/>
              <a:t>11/07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274802-488F-446C-6141-A5CBE9C4BC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AD1C9E-92E9-5E27-277C-209368528FE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BB470F-38B5-4B27-9B58-B7FB7DE4DED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226274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3.png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hyperlink" Target="file:///\\tools" TargetMode="External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10" Type="http://schemas.openxmlformats.org/officeDocument/2006/relationships/image" Target="../media/image3.png"/><Relationship Id="rId4" Type="http://schemas.openxmlformats.org/officeDocument/2006/relationships/image" Target="../media/image10.png"/><Relationship Id="rId9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34DA4CE-ABCE-2F6D-B94E-A68057C7C955}"/>
              </a:ext>
            </a:extLst>
          </p:cNvPr>
          <p:cNvSpPr/>
          <p:nvPr/>
        </p:nvSpPr>
        <p:spPr>
          <a:xfrm>
            <a:off x="-2286" y="-13209"/>
            <a:ext cx="5760000" cy="6871209"/>
          </a:xfrm>
          <a:prstGeom prst="rect">
            <a:avLst/>
          </a:prstGeom>
          <a:solidFill>
            <a:srgbClr val="FF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 panose="020F0502020204030203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06EE79-7A89-C964-B4A3-F1292467C261}"/>
              </a:ext>
            </a:extLst>
          </p:cNvPr>
          <p:cNvSpPr/>
          <p:nvPr/>
        </p:nvSpPr>
        <p:spPr>
          <a:xfrm>
            <a:off x="0" y="5937662"/>
            <a:ext cx="5760000" cy="9203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4AD03D1C-6F5C-4CA5-B29F-DCD98223BC6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1262" y="150636"/>
            <a:ext cx="1555200" cy="361973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E4F23697-1BEC-4F6B-A1E1-CF2064D07358}"/>
              </a:ext>
            </a:extLst>
          </p:cNvPr>
          <p:cNvSpPr txBox="1"/>
          <p:nvPr/>
        </p:nvSpPr>
        <p:spPr>
          <a:xfrm>
            <a:off x="9200304" y="6291348"/>
            <a:ext cx="2923714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D96800"/>
                </a:solidFill>
                <a:effectLst/>
                <a:uLnTx/>
                <a:uFillTx/>
                <a:latin typeface="Lato Light" panose="020F0502020204030203"/>
                <a:ea typeface="+mn-ea"/>
                <a:cs typeface="+mn-cs"/>
              </a:rPr>
              <a:t>Tools, Content &amp; Template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Lato Light" panose="020F0502020204030203"/>
                <a:ea typeface="+mn-ea"/>
                <a:cs typeface="+mn-cs"/>
              </a:rPr>
              <a:t>Hand built using experience &amp; Insight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1EC035C-DF7F-643C-17BD-F7A29706EF7B}"/>
              </a:ext>
            </a:extLst>
          </p:cNvPr>
          <p:cNvSpPr txBox="1"/>
          <p:nvPr/>
        </p:nvSpPr>
        <p:spPr>
          <a:xfrm>
            <a:off x="0" y="6132606"/>
            <a:ext cx="2487515" cy="523220"/>
          </a:xfrm>
          <a:prstGeom prst="rect">
            <a:avLst/>
          </a:prstGeom>
          <a:noFill/>
        </p:spPr>
        <p:txBody>
          <a:bodyPr wrap="square" lIns="360000" rIns="360000">
            <a:spAutoFit/>
          </a:bodyPr>
          <a:lstStyle>
            <a:defPPr>
              <a:defRPr lang="en-US"/>
            </a:defPPr>
            <a:lvl1pPr>
              <a:defRPr b="0" i="0">
                <a:solidFill>
                  <a:srgbClr val="909399"/>
                </a:solidFill>
                <a:effectLst/>
                <a:latin typeface="Helvetica Neue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/>
                <a:ea typeface="+mn-ea"/>
                <a:cs typeface="+mn-cs"/>
              </a:rPr>
              <a:t>UpskilPRO e Institute for Sales &amp; Marketing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57944EF-C325-87E6-F497-106A27C993F0}"/>
              </a:ext>
            </a:extLst>
          </p:cNvPr>
          <p:cNvSpPr txBox="1"/>
          <p:nvPr/>
        </p:nvSpPr>
        <p:spPr>
          <a:xfrm>
            <a:off x="286820" y="3784462"/>
            <a:ext cx="546864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b="0" i="0">
                <a:solidFill>
                  <a:srgbClr val="909399"/>
                </a:solidFill>
                <a:effectLst/>
                <a:latin typeface="Helvetica Neue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1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Strategic</a:t>
            </a:r>
            <a:r>
              <a:rPr lang="en-GB" sz="900" b="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 decision-making involves thinking about the long-term course one will take through a broad competitive landscape. 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35E8B50-E3AF-B133-2E1A-DAD76F64E6D3}"/>
              </a:ext>
            </a:extLst>
          </p:cNvPr>
          <p:cNvSpPr txBox="1"/>
          <p:nvPr/>
        </p:nvSpPr>
        <p:spPr>
          <a:xfrm>
            <a:off x="0" y="2876860"/>
            <a:ext cx="590660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35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oppins" panose="00000500000000000000" pitchFamily="2" charset="0"/>
                <a:ea typeface="MS Gothic" panose="020B0609070205080204" pitchFamily="49" charset="-128"/>
                <a:cs typeface="Poppins" panose="00000500000000000000" pitchFamily="2" charset="0"/>
              </a:rPr>
              <a:t>Strategy Map </a:t>
            </a:r>
          </a:p>
          <a:p>
            <a:pPr marL="0" marR="0" lvl="0" indent="0" algn="ctr" defTabSz="435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chemeClr val="bg1"/>
                </a:solidFill>
                <a:latin typeface="Poppins" panose="00000500000000000000" pitchFamily="2" charset="0"/>
                <a:ea typeface="MS Gothic" panose="020B0609070205080204" pitchFamily="49" charset="-128"/>
                <a:cs typeface="Poppins" panose="00000500000000000000" pitchFamily="2" charset="0"/>
              </a:rPr>
              <a:t>High Level 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Poppins" panose="00000500000000000000" pitchFamily="2" charset="0"/>
              <a:ea typeface="MS Gothic" panose="020B0609070205080204" pitchFamily="49" charset="-128"/>
              <a:cs typeface="Poppins" panose="00000500000000000000" pitchFamily="2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8A9252D-3EB8-8008-213E-C91642FFACB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1553" t="21225" r="7087" b="8262"/>
          <a:stretch/>
        </p:blipFill>
        <p:spPr>
          <a:xfrm>
            <a:off x="6989654" y="2606182"/>
            <a:ext cx="3702140" cy="205772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4BE2041D-F1AA-E148-5282-85DD7F05BBAA}"/>
              </a:ext>
            </a:extLst>
          </p:cNvPr>
          <p:cNvGrpSpPr/>
          <p:nvPr/>
        </p:nvGrpSpPr>
        <p:grpSpPr>
          <a:xfrm>
            <a:off x="5239797" y="4096166"/>
            <a:ext cx="1055370" cy="1055370"/>
            <a:chOff x="7108613" y="4124330"/>
            <a:chExt cx="1055370" cy="1055370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CD5A0D54-D840-4274-1090-0BB26C02FE0D}"/>
                </a:ext>
              </a:extLst>
            </p:cNvPr>
            <p:cNvSpPr/>
            <p:nvPr/>
          </p:nvSpPr>
          <p:spPr>
            <a:xfrm>
              <a:off x="7108613" y="4124330"/>
              <a:ext cx="1055370" cy="105537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/>
                <a:ea typeface="+mn-ea"/>
                <a:cs typeface="+mn-cs"/>
              </a:endParaRPr>
            </a:p>
          </p:txBody>
        </p:sp>
        <p:sp>
          <p:nvSpPr>
            <p:cNvPr id="6" name="Google Shape;104;p13">
              <a:extLst>
                <a:ext uri="{FF2B5EF4-FFF2-40B4-BE49-F238E27FC236}">
                  <a16:creationId xmlns:a16="http://schemas.microsoft.com/office/drawing/2014/main" id="{FA158281-6C6D-3B48-CF9C-CD70B77DA07D}"/>
                </a:ext>
              </a:extLst>
            </p:cNvPr>
            <p:cNvSpPr/>
            <p:nvPr/>
          </p:nvSpPr>
          <p:spPr>
            <a:xfrm>
              <a:off x="7322078" y="4349750"/>
              <a:ext cx="631825" cy="550862"/>
            </a:xfrm>
            <a:custGeom>
              <a:avLst/>
              <a:gdLst/>
              <a:ahLst/>
              <a:cxnLst/>
              <a:rect l="l" t="t" r="r" b="b"/>
              <a:pathLst>
                <a:path w="145" h="126" extrusionOk="0">
                  <a:moveTo>
                    <a:pt x="129" y="126"/>
                  </a:moveTo>
                  <a:cubicBezTo>
                    <a:pt x="17" y="126"/>
                    <a:pt x="17" y="126"/>
                    <a:pt x="17" y="126"/>
                  </a:cubicBezTo>
                  <a:cubicBezTo>
                    <a:pt x="8" y="126"/>
                    <a:pt x="0" y="118"/>
                    <a:pt x="0" y="109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0" y="80"/>
                    <a:pt x="1" y="78"/>
                    <a:pt x="3" y="78"/>
                  </a:cubicBezTo>
                  <a:cubicBezTo>
                    <a:pt x="5" y="78"/>
                    <a:pt x="6" y="80"/>
                    <a:pt x="6" y="81"/>
                  </a:cubicBezTo>
                  <a:cubicBezTo>
                    <a:pt x="6" y="109"/>
                    <a:pt x="6" y="109"/>
                    <a:pt x="6" y="109"/>
                  </a:cubicBezTo>
                  <a:cubicBezTo>
                    <a:pt x="6" y="115"/>
                    <a:pt x="11" y="120"/>
                    <a:pt x="17" y="120"/>
                  </a:cubicBezTo>
                  <a:cubicBezTo>
                    <a:pt x="129" y="120"/>
                    <a:pt x="129" y="120"/>
                    <a:pt x="129" y="120"/>
                  </a:cubicBezTo>
                  <a:cubicBezTo>
                    <a:pt x="134" y="120"/>
                    <a:pt x="139" y="115"/>
                    <a:pt x="139" y="109"/>
                  </a:cubicBezTo>
                  <a:cubicBezTo>
                    <a:pt x="139" y="82"/>
                    <a:pt x="139" y="82"/>
                    <a:pt x="139" y="82"/>
                  </a:cubicBezTo>
                  <a:cubicBezTo>
                    <a:pt x="139" y="80"/>
                    <a:pt x="141" y="79"/>
                    <a:pt x="142" y="79"/>
                  </a:cubicBezTo>
                  <a:cubicBezTo>
                    <a:pt x="144" y="79"/>
                    <a:pt x="145" y="80"/>
                    <a:pt x="145" y="82"/>
                  </a:cubicBezTo>
                  <a:cubicBezTo>
                    <a:pt x="145" y="109"/>
                    <a:pt x="145" y="109"/>
                    <a:pt x="145" y="109"/>
                  </a:cubicBezTo>
                  <a:cubicBezTo>
                    <a:pt x="145" y="118"/>
                    <a:pt x="138" y="126"/>
                    <a:pt x="129" y="126"/>
                  </a:cubicBezTo>
                  <a:close/>
                  <a:moveTo>
                    <a:pt x="79" y="90"/>
                  </a:moveTo>
                  <a:cubicBezTo>
                    <a:pt x="67" y="90"/>
                    <a:pt x="67" y="90"/>
                    <a:pt x="67" y="90"/>
                  </a:cubicBezTo>
                  <a:cubicBezTo>
                    <a:pt x="62" y="90"/>
                    <a:pt x="59" y="86"/>
                    <a:pt x="59" y="81"/>
                  </a:cubicBezTo>
                  <a:cubicBezTo>
                    <a:pt x="59" y="67"/>
                    <a:pt x="59" y="67"/>
                    <a:pt x="59" y="67"/>
                  </a:cubicBezTo>
                  <a:cubicBezTo>
                    <a:pt x="59" y="62"/>
                    <a:pt x="62" y="58"/>
                    <a:pt x="67" y="58"/>
                  </a:cubicBezTo>
                  <a:cubicBezTo>
                    <a:pt x="79" y="58"/>
                    <a:pt x="79" y="58"/>
                    <a:pt x="79" y="58"/>
                  </a:cubicBezTo>
                  <a:cubicBezTo>
                    <a:pt x="83" y="58"/>
                    <a:pt x="87" y="62"/>
                    <a:pt x="87" y="67"/>
                  </a:cubicBezTo>
                  <a:cubicBezTo>
                    <a:pt x="87" y="81"/>
                    <a:pt x="87" y="81"/>
                    <a:pt x="87" y="81"/>
                  </a:cubicBezTo>
                  <a:cubicBezTo>
                    <a:pt x="87" y="86"/>
                    <a:pt x="83" y="90"/>
                    <a:pt x="79" y="90"/>
                  </a:cubicBezTo>
                  <a:close/>
                  <a:moveTo>
                    <a:pt x="67" y="64"/>
                  </a:moveTo>
                  <a:cubicBezTo>
                    <a:pt x="66" y="64"/>
                    <a:pt x="65" y="65"/>
                    <a:pt x="65" y="67"/>
                  </a:cubicBezTo>
                  <a:cubicBezTo>
                    <a:pt x="65" y="81"/>
                    <a:pt x="65" y="81"/>
                    <a:pt x="65" y="81"/>
                  </a:cubicBezTo>
                  <a:cubicBezTo>
                    <a:pt x="65" y="83"/>
                    <a:pt x="66" y="84"/>
                    <a:pt x="67" y="84"/>
                  </a:cubicBezTo>
                  <a:cubicBezTo>
                    <a:pt x="79" y="84"/>
                    <a:pt x="79" y="84"/>
                    <a:pt x="79" y="84"/>
                  </a:cubicBezTo>
                  <a:cubicBezTo>
                    <a:pt x="80" y="84"/>
                    <a:pt x="81" y="83"/>
                    <a:pt x="81" y="81"/>
                  </a:cubicBezTo>
                  <a:cubicBezTo>
                    <a:pt x="81" y="67"/>
                    <a:pt x="81" y="67"/>
                    <a:pt x="81" y="67"/>
                  </a:cubicBezTo>
                  <a:cubicBezTo>
                    <a:pt x="81" y="65"/>
                    <a:pt x="80" y="64"/>
                    <a:pt x="79" y="64"/>
                  </a:cubicBezTo>
                  <a:lnTo>
                    <a:pt x="67" y="64"/>
                  </a:lnTo>
                  <a:close/>
                  <a:moveTo>
                    <a:pt x="129" y="77"/>
                  </a:moveTo>
                  <a:cubicBezTo>
                    <a:pt x="96" y="77"/>
                    <a:pt x="96" y="77"/>
                    <a:pt x="96" y="77"/>
                  </a:cubicBezTo>
                  <a:cubicBezTo>
                    <a:pt x="94" y="77"/>
                    <a:pt x="93" y="76"/>
                    <a:pt x="93" y="74"/>
                  </a:cubicBezTo>
                  <a:cubicBezTo>
                    <a:pt x="93" y="72"/>
                    <a:pt x="94" y="71"/>
                    <a:pt x="96" y="71"/>
                  </a:cubicBezTo>
                  <a:cubicBezTo>
                    <a:pt x="129" y="71"/>
                    <a:pt x="129" y="71"/>
                    <a:pt x="129" y="71"/>
                  </a:cubicBezTo>
                  <a:cubicBezTo>
                    <a:pt x="134" y="71"/>
                    <a:pt x="139" y="66"/>
                    <a:pt x="139" y="60"/>
                  </a:cubicBezTo>
                  <a:cubicBezTo>
                    <a:pt x="139" y="39"/>
                    <a:pt x="139" y="39"/>
                    <a:pt x="139" y="39"/>
                  </a:cubicBezTo>
                  <a:cubicBezTo>
                    <a:pt x="139" y="33"/>
                    <a:pt x="134" y="28"/>
                    <a:pt x="129" y="28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1" y="28"/>
                    <a:pt x="6" y="33"/>
                    <a:pt x="6" y="39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6" y="66"/>
                    <a:pt x="11" y="71"/>
                    <a:pt x="17" y="71"/>
                  </a:cubicBezTo>
                  <a:cubicBezTo>
                    <a:pt x="50" y="71"/>
                    <a:pt x="50" y="71"/>
                    <a:pt x="50" y="71"/>
                  </a:cubicBezTo>
                  <a:cubicBezTo>
                    <a:pt x="52" y="71"/>
                    <a:pt x="53" y="72"/>
                    <a:pt x="53" y="74"/>
                  </a:cubicBezTo>
                  <a:cubicBezTo>
                    <a:pt x="53" y="76"/>
                    <a:pt x="52" y="77"/>
                    <a:pt x="50" y="77"/>
                  </a:cubicBezTo>
                  <a:cubicBezTo>
                    <a:pt x="17" y="77"/>
                    <a:pt x="17" y="77"/>
                    <a:pt x="17" y="77"/>
                  </a:cubicBezTo>
                  <a:cubicBezTo>
                    <a:pt x="8" y="77"/>
                    <a:pt x="0" y="70"/>
                    <a:pt x="0" y="6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30"/>
                    <a:pt x="8" y="22"/>
                    <a:pt x="17" y="22"/>
                  </a:cubicBezTo>
                  <a:cubicBezTo>
                    <a:pt x="129" y="22"/>
                    <a:pt x="129" y="22"/>
                    <a:pt x="129" y="22"/>
                  </a:cubicBezTo>
                  <a:cubicBezTo>
                    <a:pt x="138" y="22"/>
                    <a:pt x="145" y="30"/>
                    <a:pt x="145" y="39"/>
                  </a:cubicBezTo>
                  <a:cubicBezTo>
                    <a:pt x="145" y="63"/>
                    <a:pt x="145" y="63"/>
                    <a:pt x="145" y="63"/>
                  </a:cubicBezTo>
                  <a:cubicBezTo>
                    <a:pt x="145" y="63"/>
                    <a:pt x="145" y="64"/>
                    <a:pt x="145" y="64"/>
                  </a:cubicBezTo>
                  <a:cubicBezTo>
                    <a:pt x="143" y="72"/>
                    <a:pt x="137" y="77"/>
                    <a:pt x="129" y="77"/>
                  </a:cubicBezTo>
                  <a:close/>
                  <a:moveTo>
                    <a:pt x="97" y="17"/>
                  </a:moveTo>
                  <a:cubicBezTo>
                    <a:pt x="95" y="17"/>
                    <a:pt x="94" y="15"/>
                    <a:pt x="94" y="13"/>
                  </a:cubicBezTo>
                  <a:cubicBezTo>
                    <a:pt x="94" y="9"/>
                    <a:pt x="90" y="6"/>
                    <a:pt x="85" y="6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56" y="6"/>
                    <a:pt x="52" y="9"/>
                    <a:pt x="52" y="13"/>
                  </a:cubicBezTo>
                  <a:cubicBezTo>
                    <a:pt x="52" y="15"/>
                    <a:pt x="50" y="17"/>
                    <a:pt x="49" y="17"/>
                  </a:cubicBezTo>
                  <a:cubicBezTo>
                    <a:pt x="47" y="17"/>
                    <a:pt x="45" y="15"/>
                    <a:pt x="45" y="13"/>
                  </a:cubicBezTo>
                  <a:cubicBezTo>
                    <a:pt x="45" y="6"/>
                    <a:pt x="52" y="0"/>
                    <a:pt x="61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93" y="0"/>
                    <a:pt x="100" y="6"/>
                    <a:pt x="100" y="13"/>
                  </a:cubicBezTo>
                  <a:cubicBezTo>
                    <a:pt x="100" y="15"/>
                    <a:pt x="99" y="17"/>
                    <a:pt x="97" y="1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32702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ustomers &amp; Users / Color Wheel">
            <a:extLst>
              <a:ext uri="{FF2B5EF4-FFF2-40B4-BE49-F238E27FC236}">
                <a16:creationId xmlns:a16="http://schemas.microsoft.com/office/drawing/2014/main" id="{235BF9F6-8FB8-4102-B600-1BA25DA75A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234" y="763404"/>
            <a:ext cx="2839408" cy="18910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 descr="Yellow and Black Letter T-letter Blocks">
            <a:extLst>
              <a:ext uri="{FF2B5EF4-FFF2-40B4-BE49-F238E27FC236}">
                <a16:creationId xmlns:a16="http://schemas.microsoft.com/office/drawing/2014/main" id="{B0B09F9C-79B3-4CC7-89A4-00ED763C74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6165" y="4319939"/>
            <a:ext cx="2911852" cy="18669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White and Yellow Dice on Green Surface">
            <a:extLst>
              <a:ext uri="{FF2B5EF4-FFF2-40B4-BE49-F238E27FC236}">
                <a16:creationId xmlns:a16="http://schemas.microsoft.com/office/drawing/2014/main" id="{05C760EA-A3E9-4BAD-93E9-60A6E1CC99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234" y="4319939"/>
            <a:ext cx="2850294" cy="1904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Grayscale Photo of People at Market">
            <a:extLst>
              <a:ext uri="{FF2B5EF4-FFF2-40B4-BE49-F238E27FC236}">
                <a16:creationId xmlns:a16="http://schemas.microsoft.com/office/drawing/2014/main" id="{33360189-70B2-4227-B44B-51871A89BB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1904" y="754717"/>
            <a:ext cx="2911851" cy="1904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6" descr="Logo&#10;&#10;Description automatically generated">
            <a:extLst>
              <a:ext uri="{FF2B5EF4-FFF2-40B4-BE49-F238E27FC236}">
                <a16:creationId xmlns:a16="http://schemas.microsoft.com/office/drawing/2014/main" id="{07D0B562-11DB-4F24-BB09-D018A7ACE61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4973" y="123575"/>
            <a:ext cx="1570594" cy="365556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645C8D1-EABD-447B-B8E8-294ED42B53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Lato Light"/>
                <a:ea typeface="+mn-ea"/>
                <a:cs typeface="+mn-cs"/>
              </a:rPr>
              <a:t>www.upskilpro.com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63B2F05-B9A4-42FA-9DE1-4E4B120E90EB}"/>
              </a:ext>
            </a:extLst>
          </p:cNvPr>
          <p:cNvSpPr/>
          <p:nvPr/>
        </p:nvSpPr>
        <p:spPr>
          <a:xfrm>
            <a:off x="7114140" y="2596903"/>
            <a:ext cx="4574866" cy="180049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Lato Light" panose="020F0502020204030203"/>
                <a:ea typeface="+mn-ea"/>
                <a:cs typeface="+mn-cs"/>
              </a:rPr>
              <a:t>UpskilPRO tools are designed in easy-to-use solutions, all you need to do is download the tool and get to work immediately . All UpskilPRO material has taken 100’s of hours and many 1000’s of $ to build , all this expertise and content is brought to you for a fraction of the cost to help professionals enhance their capability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Lato Light" panose="020F0502020204030203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Lato Light" panose="020F0502020204030203"/>
                <a:ea typeface="+mn-ea"/>
                <a:cs typeface="+mn-cs"/>
              </a:rPr>
              <a:t>	core areas which are best suited to improve using our tools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Lato Light" panose="020F0502020204030203"/>
              <a:ea typeface="+mn-ea"/>
              <a:cs typeface="+mn-cs"/>
            </a:endParaRPr>
          </a:p>
          <a:p>
            <a:pPr marL="21145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Lato Light" panose="020F0502020204030203"/>
                <a:ea typeface="+mn-ea"/>
                <a:cs typeface="+mn-cs"/>
              </a:rPr>
              <a:t>Subject matter expertise </a:t>
            </a:r>
          </a:p>
          <a:p>
            <a:pPr marL="21145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Lato Light" panose="020F0502020204030203"/>
                <a:ea typeface="+mn-ea"/>
                <a:cs typeface="+mn-cs"/>
              </a:rPr>
              <a:t>Best practices</a:t>
            </a:r>
          </a:p>
          <a:p>
            <a:pPr marL="21145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Lato Light" panose="020F0502020204030203"/>
                <a:ea typeface="+mn-ea"/>
                <a:cs typeface="+mn-cs"/>
              </a:rPr>
              <a:t>Analytical output &amp; charting </a:t>
            </a:r>
          </a:p>
          <a:p>
            <a:pPr marL="21145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Lato Light" panose="020F0502020204030203"/>
                <a:ea typeface="+mn-ea"/>
                <a:cs typeface="+mn-cs"/>
              </a:rPr>
              <a:t>Prioritization</a:t>
            </a:r>
          </a:p>
          <a:p>
            <a:pPr marL="21145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Lato Light" panose="020F0502020204030203"/>
                <a:ea typeface="+mn-ea"/>
                <a:cs typeface="+mn-cs"/>
              </a:rPr>
              <a:t>Proces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Lato Light" panose="020F0502020204030203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2595F606-B854-479A-B445-F7B07576866F}"/>
              </a:ext>
            </a:extLst>
          </p:cNvPr>
          <p:cNvSpPr/>
          <p:nvPr/>
        </p:nvSpPr>
        <p:spPr>
          <a:xfrm>
            <a:off x="6426689" y="6003111"/>
            <a:ext cx="5821238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DB5000"/>
                </a:solidFill>
                <a:effectLst/>
                <a:uLnTx/>
                <a:uFillTx/>
                <a:latin typeface="Lato Light" panose="020F0502020204030203"/>
                <a:ea typeface="+mn-ea"/>
                <a:cs typeface="Segoe UI" panose="020B0502040204020203" pitchFamily="34" charset="0"/>
              </a:rPr>
              <a:t>Tools in one place to get 10X productive now.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FAFB392-4E20-49CF-9184-35A7319B2A1C}"/>
              </a:ext>
            </a:extLst>
          </p:cNvPr>
          <p:cNvSpPr txBox="1"/>
          <p:nvPr/>
        </p:nvSpPr>
        <p:spPr>
          <a:xfrm>
            <a:off x="6278017" y="864932"/>
            <a:ext cx="591398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35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A4A8B"/>
                </a:solidFill>
                <a:effectLst/>
                <a:uLnTx/>
                <a:uFillTx/>
                <a:latin typeface="Lato Light" panose="020F0502020204030203"/>
                <a:ea typeface="+mn-ea"/>
                <a:cs typeface="Arial" panose="020B0604020202020204" pitchFamily="34" charset="0"/>
              </a:rPr>
              <a:t>Created by </a:t>
            </a:r>
          </a:p>
          <a:p>
            <a:pPr marL="0" marR="0" lvl="0" indent="0" algn="ctr" defTabSz="435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A4A8B"/>
                </a:solidFill>
                <a:effectLst/>
                <a:uLnTx/>
                <a:uFillTx/>
                <a:latin typeface="Lato Light" panose="020F0502020204030203"/>
                <a:ea typeface="+mn-ea"/>
                <a:cs typeface="Arial" panose="020B0604020202020204" pitchFamily="34" charset="0"/>
              </a:rPr>
              <a:t>ex-Procter &amp; Gamble, Rothmans,  BAT, Gillette, Nokia, </a:t>
            </a:r>
          </a:p>
          <a:p>
            <a:pPr marL="0" marR="0" lvl="0" indent="0" algn="ctr" defTabSz="435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A4A8B"/>
                </a:solidFill>
                <a:effectLst/>
                <a:uLnTx/>
                <a:uFillTx/>
                <a:latin typeface="Lato Light" panose="020F0502020204030203"/>
                <a:ea typeface="+mn-ea"/>
                <a:cs typeface="Arial" panose="020B0604020202020204" pitchFamily="34" charset="0"/>
              </a:rPr>
              <a:t>Microsoft &amp; 3M managers.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63C534D-7CD7-4D0F-89BB-7C9F18C088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8828D9-3E6A-477F-A491-AADAE3613DD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Lato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Lato Light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B528628-B5A8-4E7B-A422-CED3ACEC85CE}"/>
              </a:ext>
            </a:extLst>
          </p:cNvPr>
          <p:cNvSpPr/>
          <p:nvPr/>
        </p:nvSpPr>
        <p:spPr>
          <a:xfrm>
            <a:off x="891731" y="2994752"/>
            <a:ext cx="5312338" cy="9848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/>
                <a:ea typeface="+mn-ea"/>
                <a:cs typeface="Segoe UI" panose="020B0502040204020203" pitchFamily="34" charset="0"/>
              </a:rPr>
              <a:t>Capability enhancement tools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/>
                <a:ea typeface="+mn-ea"/>
                <a:cs typeface="Segoe UI" panose="020B0502040204020203" pitchFamily="34" charset="0"/>
              </a:rPr>
              <a:t>for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91B5"/>
                </a:solidFill>
                <a:effectLst/>
                <a:uLnTx/>
                <a:uFillTx/>
                <a:latin typeface="Lato Light" panose="020F0502020204030203"/>
                <a:ea typeface="+mn-ea"/>
                <a:cs typeface="Segoe UI" panose="020B0502040204020203" pitchFamily="34" charset="0"/>
              </a:rPr>
              <a:t>             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91B5"/>
                </a:solidFill>
                <a:effectLst/>
                <a:uLnTx/>
                <a:uFillTx/>
                <a:latin typeface="Lato Light" panose="020F0502020204030203"/>
                <a:ea typeface="+mn-ea"/>
                <a:cs typeface="Segoe UI" panose="020B0502040204020203" pitchFamily="34" charset="0"/>
              </a:rPr>
              <a:t>Consumer Marketing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2A4A8B"/>
                </a:solidFill>
                <a:effectLst/>
                <a:uLnTx/>
                <a:uFillTx/>
                <a:latin typeface="Lato Light" panose="020F0502020204030203"/>
                <a:ea typeface="+mn-ea"/>
                <a:cs typeface="Segoe UI" panose="020B0502040204020203" pitchFamily="34" charset="0"/>
              </a:rPr>
              <a:t>,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A4A8B"/>
                </a:solidFill>
                <a:effectLst/>
                <a:uLnTx/>
                <a:uFillTx/>
                <a:latin typeface="Lato Light" panose="020F0502020204030203"/>
                <a:ea typeface="+mn-ea"/>
                <a:cs typeface="Segoe UI" panose="020B0502040204020203" pitchFamily="34" charset="0"/>
              </a:rPr>
              <a:t>Trade Marketing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/>
                <a:ea typeface="+mn-ea"/>
                <a:cs typeface="Segoe UI" panose="020B0502040204020203" pitchFamily="34" charset="0"/>
              </a:rPr>
              <a:t>&amp;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DB5000"/>
                </a:solidFill>
                <a:effectLst/>
                <a:uLnTx/>
                <a:uFillTx/>
                <a:latin typeface="Lato Light" panose="020F0502020204030203"/>
                <a:ea typeface="+mn-ea"/>
                <a:cs typeface="Segoe UI" panose="020B0502040204020203" pitchFamily="34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DB5000"/>
                </a:solidFill>
                <a:effectLst/>
                <a:uLnTx/>
                <a:uFillTx/>
                <a:latin typeface="Lato Light" panose="020F0502020204030203"/>
                <a:ea typeface="+mn-ea"/>
                <a:cs typeface="Segoe UI" panose="020B0502040204020203" pitchFamily="34" charset="0"/>
              </a:rPr>
              <a:t>Sales excellence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 Light" panose="020F0502020204030203"/>
                <a:ea typeface="+mn-ea"/>
                <a:cs typeface="Segoe UI" panose="020B0502040204020203" pitchFamily="34" charset="0"/>
              </a:rPr>
              <a:t>professionals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DB5000"/>
              </a:solidFill>
              <a:effectLst/>
              <a:uLnTx/>
              <a:uFillTx/>
              <a:latin typeface="Lato Light" panose="020F0502020204030203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35015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Freeform 50"/>
          <p:cNvSpPr>
            <a:spLocks/>
          </p:cNvSpPr>
          <p:nvPr/>
        </p:nvSpPr>
        <p:spPr bwMode="auto">
          <a:xfrm>
            <a:off x="6964890" y="0"/>
            <a:ext cx="5227110" cy="2595385"/>
          </a:xfrm>
          <a:custGeom>
            <a:avLst/>
            <a:gdLst>
              <a:gd name="T0" fmla="*/ 719 w 3287"/>
              <a:gd name="T1" fmla="*/ 0 h 1633"/>
              <a:gd name="T2" fmla="*/ 3287 w 3287"/>
              <a:gd name="T3" fmla="*/ 0 h 1633"/>
              <a:gd name="T4" fmla="*/ 3287 w 3287"/>
              <a:gd name="T5" fmla="*/ 0 h 1633"/>
              <a:gd name="T6" fmla="*/ 394 w 3287"/>
              <a:gd name="T7" fmla="*/ 1633 h 1633"/>
              <a:gd name="T8" fmla="*/ 334 w 3287"/>
              <a:gd name="T9" fmla="*/ 1538 h 1633"/>
              <a:gd name="T10" fmla="*/ 262 w 3287"/>
              <a:gd name="T11" fmla="*/ 1450 h 1633"/>
              <a:gd name="T12" fmla="*/ 183 w 3287"/>
              <a:gd name="T13" fmla="*/ 1369 h 1633"/>
              <a:gd name="T14" fmla="*/ 95 w 3287"/>
              <a:gd name="T15" fmla="*/ 1297 h 1633"/>
              <a:gd name="T16" fmla="*/ 0 w 3287"/>
              <a:gd name="T17" fmla="*/ 1234 h 1633"/>
              <a:gd name="T18" fmla="*/ 719 w 3287"/>
              <a:gd name="T19" fmla="*/ 0 h 16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287" h="1633">
                <a:moveTo>
                  <a:pt x="719" y="0"/>
                </a:moveTo>
                <a:lnTo>
                  <a:pt x="3287" y="0"/>
                </a:lnTo>
                <a:lnTo>
                  <a:pt x="3287" y="0"/>
                </a:lnTo>
                <a:lnTo>
                  <a:pt x="394" y="1633"/>
                </a:lnTo>
                <a:lnTo>
                  <a:pt x="334" y="1538"/>
                </a:lnTo>
                <a:lnTo>
                  <a:pt x="262" y="1450"/>
                </a:lnTo>
                <a:lnTo>
                  <a:pt x="183" y="1369"/>
                </a:lnTo>
                <a:lnTo>
                  <a:pt x="95" y="1297"/>
                </a:lnTo>
                <a:lnTo>
                  <a:pt x="0" y="1234"/>
                </a:lnTo>
                <a:lnTo>
                  <a:pt x="719" y="0"/>
                </a:lnTo>
                <a:close/>
              </a:path>
            </a:pathLst>
          </a:custGeom>
          <a:solidFill>
            <a:schemeClr val="accent3"/>
          </a:solidFill>
          <a:ln w="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8" name="Freeform 46"/>
          <p:cNvSpPr>
            <a:spLocks/>
          </p:cNvSpPr>
          <p:nvPr/>
        </p:nvSpPr>
        <p:spPr bwMode="auto">
          <a:xfrm>
            <a:off x="4123396" y="0"/>
            <a:ext cx="1969432" cy="1953294"/>
          </a:xfrm>
          <a:custGeom>
            <a:avLst/>
            <a:gdLst>
              <a:gd name="T0" fmla="*/ 0 w 1238"/>
              <a:gd name="T1" fmla="*/ 0 h 1229"/>
              <a:gd name="T2" fmla="*/ 1238 w 1238"/>
              <a:gd name="T3" fmla="*/ 0 h 1229"/>
              <a:gd name="T4" fmla="*/ 1238 w 1238"/>
              <a:gd name="T5" fmla="*/ 1088 h 1229"/>
              <a:gd name="T6" fmla="*/ 1238 w 1238"/>
              <a:gd name="T7" fmla="*/ 1088 h 1229"/>
              <a:gd name="T8" fmla="*/ 1121 w 1238"/>
              <a:gd name="T9" fmla="*/ 1095 h 1229"/>
              <a:gd name="T10" fmla="*/ 1012 w 1238"/>
              <a:gd name="T11" fmla="*/ 1113 h 1229"/>
              <a:gd name="T12" fmla="*/ 903 w 1238"/>
              <a:gd name="T13" fmla="*/ 1141 h 1229"/>
              <a:gd name="T14" fmla="*/ 801 w 1238"/>
              <a:gd name="T15" fmla="*/ 1181 h 1229"/>
              <a:gd name="T16" fmla="*/ 703 w 1238"/>
              <a:gd name="T17" fmla="*/ 1229 h 1229"/>
              <a:gd name="T18" fmla="*/ 0 w 1238"/>
              <a:gd name="T19" fmla="*/ 0 h 1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38" h="1229">
                <a:moveTo>
                  <a:pt x="0" y="0"/>
                </a:moveTo>
                <a:lnTo>
                  <a:pt x="1238" y="0"/>
                </a:lnTo>
                <a:lnTo>
                  <a:pt x="1238" y="1088"/>
                </a:lnTo>
                <a:lnTo>
                  <a:pt x="1238" y="1088"/>
                </a:lnTo>
                <a:lnTo>
                  <a:pt x="1121" y="1095"/>
                </a:lnTo>
                <a:lnTo>
                  <a:pt x="1012" y="1113"/>
                </a:lnTo>
                <a:lnTo>
                  <a:pt x="903" y="1141"/>
                </a:lnTo>
                <a:lnTo>
                  <a:pt x="801" y="1181"/>
                </a:lnTo>
                <a:lnTo>
                  <a:pt x="703" y="122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9" name="Freeform 47"/>
          <p:cNvSpPr>
            <a:spLocks/>
          </p:cNvSpPr>
          <p:nvPr/>
        </p:nvSpPr>
        <p:spPr bwMode="auto">
          <a:xfrm>
            <a:off x="1589" y="3436144"/>
            <a:ext cx="4602235" cy="3437733"/>
          </a:xfrm>
          <a:custGeom>
            <a:avLst/>
            <a:gdLst>
              <a:gd name="T0" fmla="*/ 0 w 2893"/>
              <a:gd name="T1" fmla="*/ 0 h 2163"/>
              <a:gd name="T2" fmla="*/ 2753 w 2893"/>
              <a:gd name="T3" fmla="*/ 0 h 2163"/>
              <a:gd name="T4" fmla="*/ 2760 w 2893"/>
              <a:gd name="T5" fmla="*/ 114 h 2163"/>
              <a:gd name="T6" fmla="*/ 2777 w 2893"/>
              <a:gd name="T7" fmla="*/ 225 h 2163"/>
              <a:gd name="T8" fmla="*/ 2805 w 2893"/>
              <a:gd name="T9" fmla="*/ 330 h 2163"/>
              <a:gd name="T10" fmla="*/ 2844 w 2893"/>
              <a:gd name="T11" fmla="*/ 432 h 2163"/>
              <a:gd name="T12" fmla="*/ 2893 w 2893"/>
              <a:gd name="T13" fmla="*/ 529 h 2163"/>
              <a:gd name="T14" fmla="*/ 0 w 2893"/>
              <a:gd name="T15" fmla="*/ 2163 h 2163"/>
              <a:gd name="T16" fmla="*/ 0 w 2893"/>
              <a:gd name="T17" fmla="*/ 0 h 21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893" h="2163">
                <a:moveTo>
                  <a:pt x="0" y="0"/>
                </a:moveTo>
                <a:lnTo>
                  <a:pt x="2753" y="0"/>
                </a:lnTo>
                <a:lnTo>
                  <a:pt x="2760" y="114"/>
                </a:lnTo>
                <a:lnTo>
                  <a:pt x="2777" y="225"/>
                </a:lnTo>
                <a:lnTo>
                  <a:pt x="2805" y="330"/>
                </a:lnTo>
                <a:lnTo>
                  <a:pt x="2844" y="432"/>
                </a:lnTo>
                <a:lnTo>
                  <a:pt x="2893" y="529"/>
                </a:lnTo>
                <a:lnTo>
                  <a:pt x="0" y="216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0" name="Freeform 48"/>
          <p:cNvSpPr>
            <a:spLocks/>
          </p:cNvSpPr>
          <p:nvPr/>
        </p:nvSpPr>
        <p:spPr bwMode="auto">
          <a:xfrm>
            <a:off x="0" y="0"/>
            <a:ext cx="4602235" cy="3432964"/>
          </a:xfrm>
          <a:custGeom>
            <a:avLst/>
            <a:gdLst>
              <a:gd name="T0" fmla="*/ 0 w 2893"/>
              <a:gd name="T1" fmla="*/ 0 h 2160"/>
              <a:gd name="T2" fmla="*/ 2893 w 2893"/>
              <a:gd name="T3" fmla="*/ 1634 h 2160"/>
              <a:gd name="T4" fmla="*/ 2844 w 2893"/>
              <a:gd name="T5" fmla="*/ 1729 h 2160"/>
              <a:gd name="T6" fmla="*/ 2805 w 2893"/>
              <a:gd name="T7" fmla="*/ 1831 h 2160"/>
              <a:gd name="T8" fmla="*/ 2777 w 2893"/>
              <a:gd name="T9" fmla="*/ 1938 h 2160"/>
              <a:gd name="T10" fmla="*/ 2760 w 2893"/>
              <a:gd name="T11" fmla="*/ 2047 h 2160"/>
              <a:gd name="T12" fmla="*/ 2753 w 2893"/>
              <a:gd name="T13" fmla="*/ 2160 h 2160"/>
              <a:gd name="T14" fmla="*/ 0 w 2893"/>
              <a:gd name="T15" fmla="*/ 2160 h 2160"/>
              <a:gd name="T16" fmla="*/ 0 w 2893"/>
              <a:gd name="T17" fmla="*/ 0 h 2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893" h="2160">
                <a:moveTo>
                  <a:pt x="0" y="0"/>
                </a:moveTo>
                <a:lnTo>
                  <a:pt x="2893" y="1634"/>
                </a:lnTo>
                <a:lnTo>
                  <a:pt x="2844" y="1729"/>
                </a:lnTo>
                <a:lnTo>
                  <a:pt x="2805" y="1831"/>
                </a:lnTo>
                <a:lnTo>
                  <a:pt x="2777" y="1938"/>
                </a:lnTo>
                <a:lnTo>
                  <a:pt x="2760" y="2047"/>
                </a:lnTo>
                <a:lnTo>
                  <a:pt x="2753" y="2160"/>
                </a:lnTo>
                <a:lnTo>
                  <a:pt x="0" y="216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1" name="Freeform 49"/>
          <p:cNvSpPr>
            <a:spLocks/>
          </p:cNvSpPr>
          <p:nvPr/>
        </p:nvSpPr>
        <p:spPr bwMode="auto">
          <a:xfrm>
            <a:off x="1588" y="1"/>
            <a:ext cx="5240152" cy="2600153"/>
          </a:xfrm>
          <a:custGeom>
            <a:avLst/>
            <a:gdLst>
              <a:gd name="T0" fmla="*/ 0 w 3294"/>
              <a:gd name="T1" fmla="*/ 0 h 1636"/>
              <a:gd name="T2" fmla="*/ 2591 w 3294"/>
              <a:gd name="T3" fmla="*/ 0 h 1636"/>
              <a:gd name="T4" fmla="*/ 3294 w 3294"/>
              <a:gd name="T5" fmla="*/ 1229 h 1636"/>
              <a:gd name="T6" fmla="*/ 3197 w 3294"/>
              <a:gd name="T7" fmla="*/ 1292 h 1636"/>
              <a:gd name="T8" fmla="*/ 3109 w 3294"/>
              <a:gd name="T9" fmla="*/ 1366 h 1636"/>
              <a:gd name="T10" fmla="*/ 3027 w 3294"/>
              <a:gd name="T11" fmla="*/ 1448 h 1636"/>
              <a:gd name="T12" fmla="*/ 2955 w 3294"/>
              <a:gd name="T13" fmla="*/ 1538 h 1636"/>
              <a:gd name="T14" fmla="*/ 2893 w 3294"/>
              <a:gd name="T15" fmla="*/ 1636 h 1636"/>
              <a:gd name="T16" fmla="*/ 0 w 3294"/>
              <a:gd name="T17" fmla="*/ 2 h 1636"/>
              <a:gd name="T18" fmla="*/ 0 w 3294"/>
              <a:gd name="T19" fmla="*/ 0 h 16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294" h="1636">
                <a:moveTo>
                  <a:pt x="0" y="0"/>
                </a:moveTo>
                <a:lnTo>
                  <a:pt x="2591" y="0"/>
                </a:lnTo>
                <a:lnTo>
                  <a:pt x="3294" y="1229"/>
                </a:lnTo>
                <a:lnTo>
                  <a:pt x="3197" y="1292"/>
                </a:lnTo>
                <a:lnTo>
                  <a:pt x="3109" y="1366"/>
                </a:lnTo>
                <a:lnTo>
                  <a:pt x="3027" y="1448"/>
                </a:lnTo>
                <a:lnTo>
                  <a:pt x="2955" y="1538"/>
                </a:lnTo>
                <a:lnTo>
                  <a:pt x="2893" y="1636"/>
                </a:lnTo>
                <a:lnTo>
                  <a:pt x="0" y="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3" name="Freeform 51"/>
          <p:cNvSpPr>
            <a:spLocks/>
          </p:cNvSpPr>
          <p:nvPr/>
        </p:nvSpPr>
        <p:spPr bwMode="auto">
          <a:xfrm>
            <a:off x="6092828" y="0"/>
            <a:ext cx="2004430" cy="1961240"/>
          </a:xfrm>
          <a:custGeom>
            <a:avLst/>
            <a:gdLst>
              <a:gd name="T0" fmla="*/ 0 w 1260"/>
              <a:gd name="T1" fmla="*/ 0 h 1234"/>
              <a:gd name="T2" fmla="*/ 1260 w 1260"/>
              <a:gd name="T3" fmla="*/ 0 h 1234"/>
              <a:gd name="T4" fmla="*/ 541 w 1260"/>
              <a:gd name="T5" fmla="*/ 1234 h 1234"/>
              <a:gd name="T6" fmla="*/ 443 w 1260"/>
              <a:gd name="T7" fmla="*/ 1183 h 1234"/>
              <a:gd name="T8" fmla="*/ 339 w 1260"/>
              <a:gd name="T9" fmla="*/ 1144 h 1234"/>
              <a:gd name="T10" fmla="*/ 229 w 1260"/>
              <a:gd name="T11" fmla="*/ 1113 h 1234"/>
              <a:gd name="T12" fmla="*/ 116 w 1260"/>
              <a:gd name="T13" fmla="*/ 1095 h 1234"/>
              <a:gd name="T14" fmla="*/ 0 w 1260"/>
              <a:gd name="T15" fmla="*/ 1088 h 1234"/>
              <a:gd name="T16" fmla="*/ 0 w 1260"/>
              <a:gd name="T17" fmla="*/ 0 h 12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260" h="1234">
                <a:moveTo>
                  <a:pt x="0" y="0"/>
                </a:moveTo>
                <a:lnTo>
                  <a:pt x="1260" y="0"/>
                </a:lnTo>
                <a:lnTo>
                  <a:pt x="541" y="1234"/>
                </a:lnTo>
                <a:lnTo>
                  <a:pt x="443" y="1183"/>
                </a:lnTo>
                <a:lnTo>
                  <a:pt x="339" y="1144"/>
                </a:lnTo>
                <a:lnTo>
                  <a:pt x="229" y="1113"/>
                </a:lnTo>
                <a:lnTo>
                  <a:pt x="116" y="1095"/>
                </a:lnTo>
                <a:lnTo>
                  <a:pt x="0" y="108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4" name="Freeform 52"/>
          <p:cNvSpPr>
            <a:spLocks/>
          </p:cNvSpPr>
          <p:nvPr/>
        </p:nvSpPr>
        <p:spPr bwMode="auto">
          <a:xfrm>
            <a:off x="1589" y="4276901"/>
            <a:ext cx="5230607" cy="2596974"/>
          </a:xfrm>
          <a:custGeom>
            <a:avLst/>
            <a:gdLst>
              <a:gd name="T0" fmla="*/ 2893 w 3288"/>
              <a:gd name="T1" fmla="*/ 0 h 1634"/>
              <a:gd name="T2" fmla="*/ 2953 w 3288"/>
              <a:gd name="T3" fmla="*/ 96 h 1634"/>
              <a:gd name="T4" fmla="*/ 3025 w 3288"/>
              <a:gd name="T5" fmla="*/ 184 h 1634"/>
              <a:gd name="T6" fmla="*/ 3104 w 3288"/>
              <a:gd name="T7" fmla="*/ 265 h 1634"/>
              <a:gd name="T8" fmla="*/ 3192 w 3288"/>
              <a:gd name="T9" fmla="*/ 337 h 1634"/>
              <a:gd name="T10" fmla="*/ 3288 w 3288"/>
              <a:gd name="T11" fmla="*/ 400 h 1634"/>
              <a:gd name="T12" fmla="*/ 2568 w 3288"/>
              <a:gd name="T13" fmla="*/ 1634 h 1634"/>
              <a:gd name="T14" fmla="*/ 0 w 3288"/>
              <a:gd name="T15" fmla="*/ 1634 h 1634"/>
              <a:gd name="T16" fmla="*/ 0 w 3288"/>
              <a:gd name="T17" fmla="*/ 1634 h 1634"/>
              <a:gd name="T18" fmla="*/ 2893 w 3288"/>
              <a:gd name="T19" fmla="*/ 0 h 16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288" h="1634">
                <a:moveTo>
                  <a:pt x="2893" y="0"/>
                </a:moveTo>
                <a:lnTo>
                  <a:pt x="2953" y="96"/>
                </a:lnTo>
                <a:lnTo>
                  <a:pt x="3025" y="184"/>
                </a:lnTo>
                <a:lnTo>
                  <a:pt x="3104" y="265"/>
                </a:lnTo>
                <a:lnTo>
                  <a:pt x="3192" y="337"/>
                </a:lnTo>
                <a:lnTo>
                  <a:pt x="3288" y="400"/>
                </a:lnTo>
                <a:lnTo>
                  <a:pt x="2568" y="1634"/>
                </a:lnTo>
                <a:lnTo>
                  <a:pt x="0" y="1634"/>
                </a:lnTo>
                <a:lnTo>
                  <a:pt x="0" y="1634"/>
                </a:lnTo>
                <a:lnTo>
                  <a:pt x="2893" y="0"/>
                </a:lnTo>
                <a:close/>
              </a:path>
            </a:pathLst>
          </a:custGeom>
          <a:solidFill>
            <a:schemeClr val="accent2"/>
          </a:solidFill>
          <a:ln w="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5" name="Freeform 53"/>
          <p:cNvSpPr>
            <a:spLocks/>
          </p:cNvSpPr>
          <p:nvPr/>
        </p:nvSpPr>
        <p:spPr bwMode="auto">
          <a:xfrm>
            <a:off x="7589765" y="0"/>
            <a:ext cx="4602235" cy="3436143"/>
          </a:xfrm>
          <a:custGeom>
            <a:avLst/>
            <a:gdLst>
              <a:gd name="T0" fmla="*/ 2893 w 2893"/>
              <a:gd name="T1" fmla="*/ 0 h 2162"/>
              <a:gd name="T2" fmla="*/ 2893 w 2893"/>
              <a:gd name="T3" fmla="*/ 2162 h 2162"/>
              <a:gd name="T4" fmla="*/ 140 w 2893"/>
              <a:gd name="T5" fmla="*/ 2162 h 2162"/>
              <a:gd name="T6" fmla="*/ 133 w 2893"/>
              <a:gd name="T7" fmla="*/ 2049 h 2162"/>
              <a:gd name="T8" fmla="*/ 116 w 2893"/>
              <a:gd name="T9" fmla="*/ 1940 h 2162"/>
              <a:gd name="T10" fmla="*/ 86 w 2893"/>
              <a:gd name="T11" fmla="*/ 1833 h 2162"/>
              <a:gd name="T12" fmla="*/ 49 w 2893"/>
              <a:gd name="T13" fmla="*/ 1731 h 2162"/>
              <a:gd name="T14" fmla="*/ 0 w 2893"/>
              <a:gd name="T15" fmla="*/ 1633 h 2162"/>
              <a:gd name="T16" fmla="*/ 2893 w 2893"/>
              <a:gd name="T17" fmla="*/ 0 h 2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893" h="2162">
                <a:moveTo>
                  <a:pt x="2893" y="0"/>
                </a:moveTo>
                <a:lnTo>
                  <a:pt x="2893" y="2162"/>
                </a:lnTo>
                <a:lnTo>
                  <a:pt x="140" y="2162"/>
                </a:lnTo>
                <a:lnTo>
                  <a:pt x="133" y="2049"/>
                </a:lnTo>
                <a:lnTo>
                  <a:pt x="116" y="1940"/>
                </a:lnTo>
                <a:lnTo>
                  <a:pt x="86" y="1833"/>
                </a:lnTo>
                <a:lnTo>
                  <a:pt x="49" y="1731"/>
                </a:lnTo>
                <a:lnTo>
                  <a:pt x="0" y="1633"/>
                </a:lnTo>
                <a:lnTo>
                  <a:pt x="2893" y="0"/>
                </a:lnTo>
                <a:close/>
              </a:path>
            </a:pathLst>
          </a:custGeom>
          <a:solidFill>
            <a:schemeClr val="accent2"/>
          </a:solidFill>
          <a:ln w="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6" name="Freeform 54"/>
          <p:cNvSpPr>
            <a:spLocks/>
          </p:cNvSpPr>
          <p:nvPr/>
        </p:nvSpPr>
        <p:spPr bwMode="auto">
          <a:xfrm>
            <a:off x="6942324" y="4276901"/>
            <a:ext cx="5240152" cy="2596974"/>
          </a:xfrm>
          <a:custGeom>
            <a:avLst/>
            <a:gdLst>
              <a:gd name="T0" fmla="*/ 401 w 3294"/>
              <a:gd name="T1" fmla="*/ 0 h 1634"/>
              <a:gd name="T2" fmla="*/ 3294 w 3294"/>
              <a:gd name="T3" fmla="*/ 1632 h 1634"/>
              <a:gd name="T4" fmla="*/ 3294 w 3294"/>
              <a:gd name="T5" fmla="*/ 1634 h 1634"/>
              <a:gd name="T6" fmla="*/ 703 w 3294"/>
              <a:gd name="T7" fmla="*/ 1634 h 1634"/>
              <a:gd name="T8" fmla="*/ 0 w 3294"/>
              <a:gd name="T9" fmla="*/ 404 h 1634"/>
              <a:gd name="T10" fmla="*/ 97 w 3294"/>
              <a:gd name="T11" fmla="*/ 341 h 1634"/>
              <a:gd name="T12" fmla="*/ 185 w 3294"/>
              <a:gd name="T13" fmla="*/ 270 h 1634"/>
              <a:gd name="T14" fmla="*/ 267 w 3294"/>
              <a:gd name="T15" fmla="*/ 186 h 1634"/>
              <a:gd name="T16" fmla="*/ 339 w 3294"/>
              <a:gd name="T17" fmla="*/ 98 h 1634"/>
              <a:gd name="T18" fmla="*/ 401 w 3294"/>
              <a:gd name="T19" fmla="*/ 0 h 16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294" h="1634">
                <a:moveTo>
                  <a:pt x="401" y="0"/>
                </a:moveTo>
                <a:lnTo>
                  <a:pt x="3294" y="1632"/>
                </a:lnTo>
                <a:lnTo>
                  <a:pt x="3294" y="1634"/>
                </a:lnTo>
                <a:lnTo>
                  <a:pt x="703" y="1634"/>
                </a:lnTo>
                <a:lnTo>
                  <a:pt x="0" y="404"/>
                </a:lnTo>
                <a:lnTo>
                  <a:pt x="97" y="341"/>
                </a:lnTo>
                <a:lnTo>
                  <a:pt x="185" y="270"/>
                </a:lnTo>
                <a:lnTo>
                  <a:pt x="267" y="186"/>
                </a:lnTo>
                <a:lnTo>
                  <a:pt x="339" y="98"/>
                </a:lnTo>
                <a:lnTo>
                  <a:pt x="401" y="0"/>
                </a:lnTo>
                <a:close/>
              </a:path>
            </a:pathLst>
          </a:custGeom>
          <a:solidFill>
            <a:schemeClr val="accent2"/>
          </a:solidFill>
          <a:ln w="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7" name="Freeform 55"/>
          <p:cNvSpPr>
            <a:spLocks/>
          </p:cNvSpPr>
          <p:nvPr/>
        </p:nvSpPr>
        <p:spPr bwMode="auto">
          <a:xfrm>
            <a:off x="7580242" y="3436143"/>
            <a:ext cx="4602235" cy="3434554"/>
          </a:xfrm>
          <a:custGeom>
            <a:avLst/>
            <a:gdLst>
              <a:gd name="T0" fmla="*/ 140 w 2893"/>
              <a:gd name="T1" fmla="*/ 0 h 2161"/>
              <a:gd name="T2" fmla="*/ 2893 w 2893"/>
              <a:gd name="T3" fmla="*/ 0 h 2161"/>
              <a:gd name="T4" fmla="*/ 2893 w 2893"/>
              <a:gd name="T5" fmla="*/ 2161 h 2161"/>
              <a:gd name="T6" fmla="*/ 0 w 2893"/>
              <a:gd name="T7" fmla="*/ 529 h 2161"/>
              <a:gd name="T8" fmla="*/ 49 w 2893"/>
              <a:gd name="T9" fmla="*/ 432 h 2161"/>
              <a:gd name="T10" fmla="*/ 86 w 2893"/>
              <a:gd name="T11" fmla="*/ 330 h 2161"/>
              <a:gd name="T12" fmla="*/ 116 w 2893"/>
              <a:gd name="T13" fmla="*/ 225 h 2161"/>
              <a:gd name="T14" fmla="*/ 133 w 2893"/>
              <a:gd name="T15" fmla="*/ 114 h 2161"/>
              <a:gd name="T16" fmla="*/ 140 w 2893"/>
              <a:gd name="T17" fmla="*/ 0 h 21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893" h="2161">
                <a:moveTo>
                  <a:pt x="140" y="0"/>
                </a:moveTo>
                <a:lnTo>
                  <a:pt x="2893" y="0"/>
                </a:lnTo>
                <a:lnTo>
                  <a:pt x="2893" y="2161"/>
                </a:lnTo>
                <a:lnTo>
                  <a:pt x="0" y="529"/>
                </a:lnTo>
                <a:lnTo>
                  <a:pt x="49" y="432"/>
                </a:lnTo>
                <a:lnTo>
                  <a:pt x="86" y="330"/>
                </a:lnTo>
                <a:lnTo>
                  <a:pt x="116" y="225"/>
                </a:lnTo>
                <a:lnTo>
                  <a:pt x="133" y="114"/>
                </a:lnTo>
                <a:lnTo>
                  <a:pt x="140" y="0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8" name="Freeform 56"/>
          <p:cNvSpPr>
            <a:spLocks/>
          </p:cNvSpPr>
          <p:nvPr/>
        </p:nvSpPr>
        <p:spPr bwMode="auto">
          <a:xfrm>
            <a:off x="6092829" y="4918993"/>
            <a:ext cx="1967841" cy="1954883"/>
          </a:xfrm>
          <a:custGeom>
            <a:avLst/>
            <a:gdLst>
              <a:gd name="T0" fmla="*/ 534 w 1237"/>
              <a:gd name="T1" fmla="*/ 0 h 1230"/>
              <a:gd name="T2" fmla="*/ 1237 w 1237"/>
              <a:gd name="T3" fmla="*/ 1230 h 1230"/>
              <a:gd name="T4" fmla="*/ 0 w 1237"/>
              <a:gd name="T5" fmla="*/ 1230 h 1230"/>
              <a:gd name="T6" fmla="*/ 0 w 1237"/>
              <a:gd name="T7" fmla="*/ 142 h 1230"/>
              <a:gd name="T8" fmla="*/ 113 w 1237"/>
              <a:gd name="T9" fmla="*/ 135 h 1230"/>
              <a:gd name="T10" fmla="*/ 225 w 1237"/>
              <a:gd name="T11" fmla="*/ 118 h 1230"/>
              <a:gd name="T12" fmla="*/ 334 w 1237"/>
              <a:gd name="T13" fmla="*/ 88 h 1230"/>
              <a:gd name="T14" fmla="*/ 436 w 1237"/>
              <a:gd name="T15" fmla="*/ 49 h 1230"/>
              <a:gd name="T16" fmla="*/ 534 w 1237"/>
              <a:gd name="T17" fmla="*/ 0 h 12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237" h="1230">
                <a:moveTo>
                  <a:pt x="534" y="0"/>
                </a:moveTo>
                <a:lnTo>
                  <a:pt x="1237" y="1230"/>
                </a:lnTo>
                <a:lnTo>
                  <a:pt x="0" y="1230"/>
                </a:lnTo>
                <a:lnTo>
                  <a:pt x="0" y="142"/>
                </a:lnTo>
                <a:lnTo>
                  <a:pt x="113" y="135"/>
                </a:lnTo>
                <a:lnTo>
                  <a:pt x="225" y="118"/>
                </a:lnTo>
                <a:lnTo>
                  <a:pt x="334" y="88"/>
                </a:lnTo>
                <a:lnTo>
                  <a:pt x="436" y="49"/>
                </a:lnTo>
                <a:lnTo>
                  <a:pt x="534" y="0"/>
                </a:lnTo>
                <a:close/>
              </a:path>
            </a:pathLst>
          </a:custGeom>
          <a:solidFill>
            <a:schemeClr val="accent3"/>
          </a:solidFill>
          <a:ln w="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9" name="Freeform 57"/>
          <p:cNvSpPr>
            <a:spLocks/>
          </p:cNvSpPr>
          <p:nvPr/>
        </p:nvSpPr>
        <p:spPr bwMode="auto">
          <a:xfrm>
            <a:off x="4086808" y="4912635"/>
            <a:ext cx="2006021" cy="1961240"/>
          </a:xfrm>
          <a:custGeom>
            <a:avLst/>
            <a:gdLst>
              <a:gd name="T0" fmla="*/ 720 w 1261"/>
              <a:gd name="T1" fmla="*/ 0 h 1234"/>
              <a:gd name="T2" fmla="*/ 817 w 1261"/>
              <a:gd name="T3" fmla="*/ 51 h 1234"/>
              <a:gd name="T4" fmla="*/ 922 w 1261"/>
              <a:gd name="T5" fmla="*/ 90 h 1234"/>
              <a:gd name="T6" fmla="*/ 1031 w 1261"/>
              <a:gd name="T7" fmla="*/ 120 h 1234"/>
              <a:gd name="T8" fmla="*/ 1144 w 1261"/>
              <a:gd name="T9" fmla="*/ 139 h 1234"/>
              <a:gd name="T10" fmla="*/ 1261 w 1261"/>
              <a:gd name="T11" fmla="*/ 146 h 1234"/>
              <a:gd name="T12" fmla="*/ 1261 w 1261"/>
              <a:gd name="T13" fmla="*/ 146 h 1234"/>
              <a:gd name="T14" fmla="*/ 1261 w 1261"/>
              <a:gd name="T15" fmla="*/ 1234 h 1234"/>
              <a:gd name="T16" fmla="*/ 0 w 1261"/>
              <a:gd name="T17" fmla="*/ 1234 h 1234"/>
              <a:gd name="T18" fmla="*/ 720 w 1261"/>
              <a:gd name="T19" fmla="*/ 0 h 12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61" h="1234">
                <a:moveTo>
                  <a:pt x="720" y="0"/>
                </a:moveTo>
                <a:lnTo>
                  <a:pt x="817" y="51"/>
                </a:lnTo>
                <a:lnTo>
                  <a:pt x="922" y="90"/>
                </a:lnTo>
                <a:lnTo>
                  <a:pt x="1031" y="120"/>
                </a:lnTo>
                <a:lnTo>
                  <a:pt x="1144" y="139"/>
                </a:lnTo>
                <a:lnTo>
                  <a:pt x="1261" y="146"/>
                </a:lnTo>
                <a:lnTo>
                  <a:pt x="1261" y="146"/>
                </a:lnTo>
                <a:lnTo>
                  <a:pt x="1261" y="1234"/>
                </a:lnTo>
                <a:lnTo>
                  <a:pt x="0" y="1234"/>
                </a:lnTo>
                <a:lnTo>
                  <a:pt x="720" y="0"/>
                </a:lnTo>
                <a:close/>
              </a:path>
            </a:pathLst>
          </a:custGeom>
          <a:solidFill>
            <a:schemeClr val="accent3"/>
          </a:solidFill>
          <a:ln w="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7981138" y="459917"/>
            <a:ext cx="2597962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KPI’s</a:t>
            </a:r>
          </a:p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Performance indicator, a quantifiable measure of performance over time versus a specific objective. 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9033933" y="1927613"/>
            <a:ext cx="298026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Lato light" panose="020F0502020204030203" pitchFamily="34" charset="0"/>
                <a:cs typeface="Poppins" panose="00000500000000000000" pitchFamily="2" charset="0"/>
              </a:rPr>
              <a:t>Strategic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Lato light" panose="020F0502020204030203" pitchFamily="34" charset="0"/>
                <a:cs typeface="Poppins" panose="00000500000000000000" pitchFamily="2" charset="0"/>
                <a:hlinkClick r:id="rId2" action="ppaction://hlinkfil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ools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Lato light" panose="020F0502020204030203" pitchFamily="34" charset="0"/>
                <a:cs typeface="Poppins" panose="00000500000000000000" pitchFamily="2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 panose="00000500000000000000" pitchFamily="2" charset="0"/>
              <a:ea typeface="Lato light" panose="020F0502020204030203" pitchFamily="34" charset="0"/>
              <a:cs typeface="Poppins" panose="00000500000000000000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These tools are  recognised the world over in business schools, consulting firms and companies who plan strategically.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Lato light" panose="020F0502020204030203" pitchFamily="34" charset="0"/>
                <a:cs typeface="Arial" panose="020B0604020202020204" pitchFamily="34" charset="0"/>
              </a:rPr>
              <a:t>  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9144000" y="3826646"/>
            <a:ext cx="2921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Scorecards </a:t>
            </a:r>
          </a:p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esigned as functional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or subject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indicators across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a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variety off situation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to enable performance o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f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situational evaluation versus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aligned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standards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5" name="TextBox 94"/>
          <p:cNvSpPr txBox="1"/>
          <p:nvPr/>
        </p:nvSpPr>
        <p:spPr>
          <a:xfrm>
            <a:off x="7806267" y="5371356"/>
            <a:ext cx="288713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Assessments</a:t>
            </a:r>
          </a:p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Assessments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are designed around specific areas to conduct reviews  and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will center around a benchmark reviewing individuals or function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4559300" y="5782503"/>
            <a:ext cx="1612901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666D7F"/>
                </a:solidFill>
                <a:effectLst/>
                <a:uLnTx/>
                <a:uFillTx/>
                <a:latin typeface="Poppins" panose="00000500000000000000" pitchFamily="2" charset="0"/>
                <a:ea typeface="Lato light" panose="020F0502020204030203" pitchFamily="34" charset="0"/>
                <a:cs typeface="Poppins" panose="00000500000000000000" pitchFamily="2" charset="0"/>
              </a:rPr>
              <a:t>    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Checklist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esigned around achieving milestones in a sequential manner.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1574799" y="5464198"/>
            <a:ext cx="270933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                      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Calculators </a:t>
            </a:r>
          </a:p>
          <a:p>
            <a:pPr marL="0" marR="0" lvl="0" indent="0" algn="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calculate the right ratios for businesses looking for benchmarks in a variety of situation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104" name="TextBox 103"/>
          <p:cNvSpPr txBox="1"/>
          <p:nvPr/>
        </p:nvSpPr>
        <p:spPr>
          <a:xfrm>
            <a:off x="271422" y="3850604"/>
            <a:ext cx="308984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Analytical </a:t>
            </a:r>
            <a:r>
              <a:rPr kumimoji="0" lang="en-US" sz="1200" b="1" i="0" u="sng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Tools </a:t>
            </a:r>
          </a:p>
          <a:p>
            <a:pPr marL="0" marR="0" lvl="0" indent="0" algn="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Interactive excel tools on specific business areas based on your data inputs delivered in a workbook model with instructions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2058535" y="500688"/>
            <a:ext cx="2504997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Templates</a:t>
            </a:r>
          </a:p>
          <a:p>
            <a:pPr marL="0" marR="0" lvl="0" indent="0" algn="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Templates are designed based gather information in a structured manner 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161693" y="1966208"/>
            <a:ext cx="2755073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Lato light" panose="020F0502020204030203" pitchFamily="34" charset="0"/>
                <a:cs typeface="Poppins" panose="00000500000000000000" pitchFamily="2" charset="0"/>
              </a:rPr>
              <a:t>Content </a:t>
            </a:r>
            <a:r>
              <a:rPr kumimoji="0" lang="en-GB" sz="1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Lato light" panose="020F0502020204030203" pitchFamily="34" charset="0"/>
                <a:cs typeface="Poppins" panose="00000500000000000000" pitchFamily="2" charset="0"/>
              </a:rPr>
              <a:t>Modul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Best practice material in power point for use as a knowledge base in business training , planning and execution . </a:t>
            </a:r>
          </a:p>
        </p:txBody>
      </p:sp>
      <p:sp>
        <p:nvSpPr>
          <p:cNvPr id="113" name="TextBox 112"/>
          <p:cNvSpPr txBox="1"/>
          <p:nvPr/>
        </p:nvSpPr>
        <p:spPr>
          <a:xfrm>
            <a:off x="4521201" y="196208"/>
            <a:ext cx="1756832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Job </a:t>
            </a:r>
            <a:r>
              <a:rPr kumimoji="0" lang="en-US" sz="1200" b="1" i="0" u="sng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Descriptions</a:t>
            </a:r>
          </a:p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evelop roles clearly and completely  across varying levels of experienc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4095967" y="1429565"/>
            <a:ext cx="4011612" cy="4019514"/>
            <a:chOff x="4379520" y="1716091"/>
            <a:chExt cx="3421848" cy="3428588"/>
          </a:xfrm>
        </p:grpSpPr>
        <p:sp>
          <p:nvSpPr>
            <p:cNvPr id="60" name="Freeform 58"/>
            <p:cNvSpPr>
              <a:spLocks/>
            </p:cNvSpPr>
            <p:nvPr/>
          </p:nvSpPr>
          <p:spPr bwMode="auto">
            <a:xfrm>
              <a:off x="4379520" y="1729197"/>
              <a:ext cx="3421848" cy="3415482"/>
            </a:xfrm>
            <a:custGeom>
              <a:avLst/>
              <a:gdLst>
                <a:gd name="T0" fmla="*/ 1076 w 2151"/>
                <a:gd name="T1" fmla="*/ 0 h 2149"/>
                <a:gd name="T2" fmla="*/ 1076 w 2151"/>
                <a:gd name="T3" fmla="*/ 0 h 2149"/>
                <a:gd name="T4" fmla="*/ 1192 w 2151"/>
                <a:gd name="T5" fmla="*/ 7 h 2149"/>
                <a:gd name="T6" fmla="*/ 1305 w 2151"/>
                <a:gd name="T7" fmla="*/ 25 h 2149"/>
                <a:gd name="T8" fmla="*/ 1415 w 2151"/>
                <a:gd name="T9" fmla="*/ 56 h 2149"/>
                <a:gd name="T10" fmla="*/ 1519 w 2151"/>
                <a:gd name="T11" fmla="*/ 95 h 2149"/>
                <a:gd name="T12" fmla="*/ 1617 w 2151"/>
                <a:gd name="T13" fmla="*/ 146 h 2149"/>
                <a:gd name="T14" fmla="*/ 1712 w 2151"/>
                <a:gd name="T15" fmla="*/ 209 h 2149"/>
                <a:gd name="T16" fmla="*/ 1800 w 2151"/>
                <a:gd name="T17" fmla="*/ 281 h 2149"/>
                <a:gd name="T18" fmla="*/ 1879 w 2151"/>
                <a:gd name="T19" fmla="*/ 362 h 2149"/>
                <a:gd name="T20" fmla="*/ 1951 w 2151"/>
                <a:gd name="T21" fmla="*/ 450 h 2149"/>
                <a:gd name="T22" fmla="*/ 2011 w 2151"/>
                <a:gd name="T23" fmla="*/ 545 h 2149"/>
                <a:gd name="T24" fmla="*/ 2060 w 2151"/>
                <a:gd name="T25" fmla="*/ 643 h 2149"/>
                <a:gd name="T26" fmla="*/ 2097 w 2151"/>
                <a:gd name="T27" fmla="*/ 745 h 2149"/>
                <a:gd name="T28" fmla="*/ 2127 w 2151"/>
                <a:gd name="T29" fmla="*/ 852 h 2149"/>
                <a:gd name="T30" fmla="*/ 2144 w 2151"/>
                <a:gd name="T31" fmla="*/ 961 h 2149"/>
                <a:gd name="T32" fmla="*/ 2151 w 2151"/>
                <a:gd name="T33" fmla="*/ 1074 h 2149"/>
                <a:gd name="T34" fmla="*/ 2144 w 2151"/>
                <a:gd name="T35" fmla="*/ 1188 h 2149"/>
                <a:gd name="T36" fmla="*/ 2127 w 2151"/>
                <a:gd name="T37" fmla="*/ 1299 h 2149"/>
                <a:gd name="T38" fmla="*/ 2097 w 2151"/>
                <a:gd name="T39" fmla="*/ 1404 h 2149"/>
                <a:gd name="T40" fmla="*/ 2060 w 2151"/>
                <a:gd name="T41" fmla="*/ 1506 h 2149"/>
                <a:gd name="T42" fmla="*/ 2011 w 2151"/>
                <a:gd name="T43" fmla="*/ 1603 h 2149"/>
                <a:gd name="T44" fmla="*/ 1949 w 2151"/>
                <a:gd name="T45" fmla="*/ 1701 h 2149"/>
                <a:gd name="T46" fmla="*/ 1877 w 2151"/>
                <a:gd name="T47" fmla="*/ 1789 h 2149"/>
                <a:gd name="T48" fmla="*/ 1795 w 2151"/>
                <a:gd name="T49" fmla="*/ 1873 h 2149"/>
                <a:gd name="T50" fmla="*/ 1707 w 2151"/>
                <a:gd name="T51" fmla="*/ 1944 h 2149"/>
                <a:gd name="T52" fmla="*/ 1610 w 2151"/>
                <a:gd name="T53" fmla="*/ 2007 h 2149"/>
                <a:gd name="T54" fmla="*/ 1512 w 2151"/>
                <a:gd name="T55" fmla="*/ 2056 h 2149"/>
                <a:gd name="T56" fmla="*/ 1410 w 2151"/>
                <a:gd name="T57" fmla="*/ 2095 h 2149"/>
                <a:gd name="T58" fmla="*/ 1301 w 2151"/>
                <a:gd name="T59" fmla="*/ 2125 h 2149"/>
                <a:gd name="T60" fmla="*/ 1189 w 2151"/>
                <a:gd name="T61" fmla="*/ 2142 h 2149"/>
                <a:gd name="T62" fmla="*/ 1076 w 2151"/>
                <a:gd name="T63" fmla="*/ 2149 h 2149"/>
                <a:gd name="T64" fmla="*/ 1076 w 2151"/>
                <a:gd name="T65" fmla="*/ 2149 h 2149"/>
                <a:gd name="T66" fmla="*/ 959 w 2151"/>
                <a:gd name="T67" fmla="*/ 2142 h 2149"/>
                <a:gd name="T68" fmla="*/ 846 w 2151"/>
                <a:gd name="T69" fmla="*/ 2123 h 2149"/>
                <a:gd name="T70" fmla="*/ 737 w 2151"/>
                <a:gd name="T71" fmla="*/ 2093 h 2149"/>
                <a:gd name="T72" fmla="*/ 632 w 2151"/>
                <a:gd name="T73" fmla="*/ 2054 h 2149"/>
                <a:gd name="T74" fmla="*/ 535 w 2151"/>
                <a:gd name="T75" fmla="*/ 2003 h 2149"/>
                <a:gd name="T76" fmla="*/ 439 w 2151"/>
                <a:gd name="T77" fmla="*/ 1940 h 2149"/>
                <a:gd name="T78" fmla="*/ 351 w 2151"/>
                <a:gd name="T79" fmla="*/ 1868 h 2149"/>
                <a:gd name="T80" fmla="*/ 272 w 2151"/>
                <a:gd name="T81" fmla="*/ 1787 h 2149"/>
                <a:gd name="T82" fmla="*/ 200 w 2151"/>
                <a:gd name="T83" fmla="*/ 1699 h 2149"/>
                <a:gd name="T84" fmla="*/ 140 w 2151"/>
                <a:gd name="T85" fmla="*/ 1603 h 2149"/>
                <a:gd name="T86" fmla="*/ 91 w 2151"/>
                <a:gd name="T87" fmla="*/ 1506 h 2149"/>
                <a:gd name="T88" fmla="*/ 52 w 2151"/>
                <a:gd name="T89" fmla="*/ 1404 h 2149"/>
                <a:gd name="T90" fmla="*/ 24 w 2151"/>
                <a:gd name="T91" fmla="*/ 1299 h 2149"/>
                <a:gd name="T92" fmla="*/ 7 w 2151"/>
                <a:gd name="T93" fmla="*/ 1188 h 2149"/>
                <a:gd name="T94" fmla="*/ 0 w 2151"/>
                <a:gd name="T95" fmla="*/ 1074 h 2149"/>
                <a:gd name="T96" fmla="*/ 7 w 2151"/>
                <a:gd name="T97" fmla="*/ 961 h 2149"/>
                <a:gd name="T98" fmla="*/ 24 w 2151"/>
                <a:gd name="T99" fmla="*/ 852 h 2149"/>
                <a:gd name="T100" fmla="*/ 52 w 2151"/>
                <a:gd name="T101" fmla="*/ 745 h 2149"/>
                <a:gd name="T102" fmla="*/ 91 w 2151"/>
                <a:gd name="T103" fmla="*/ 643 h 2149"/>
                <a:gd name="T104" fmla="*/ 140 w 2151"/>
                <a:gd name="T105" fmla="*/ 548 h 2149"/>
                <a:gd name="T106" fmla="*/ 202 w 2151"/>
                <a:gd name="T107" fmla="*/ 450 h 2149"/>
                <a:gd name="T108" fmla="*/ 274 w 2151"/>
                <a:gd name="T109" fmla="*/ 360 h 2149"/>
                <a:gd name="T110" fmla="*/ 356 w 2151"/>
                <a:gd name="T111" fmla="*/ 278 h 2149"/>
                <a:gd name="T112" fmla="*/ 444 w 2151"/>
                <a:gd name="T113" fmla="*/ 204 h 2149"/>
                <a:gd name="T114" fmla="*/ 541 w 2151"/>
                <a:gd name="T115" fmla="*/ 141 h 2149"/>
                <a:gd name="T116" fmla="*/ 639 w 2151"/>
                <a:gd name="T117" fmla="*/ 93 h 2149"/>
                <a:gd name="T118" fmla="*/ 741 w 2151"/>
                <a:gd name="T119" fmla="*/ 53 h 2149"/>
                <a:gd name="T120" fmla="*/ 850 w 2151"/>
                <a:gd name="T121" fmla="*/ 25 h 2149"/>
                <a:gd name="T122" fmla="*/ 959 w 2151"/>
                <a:gd name="T123" fmla="*/ 7 h 2149"/>
                <a:gd name="T124" fmla="*/ 1076 w 2151"/>
                <a:gd name="T125" fmla="*/ 0 h 2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51" h="2149">
                  <a:moveTo>
                    <a:pt x="1076" y="0"/>
                  </a:moveTo>
                  <a:lnTo>
                    <a:pt x="1076" y="0"/>
                  </a:lnTo>
                  <a:lnTo>
                    <a:pt x="1192" y="7"/>
                  </a:lnTo>
                  <a:lnTo>
                    <a:pt x="1305" y="25"/>
                  </a:lnTo>
                  <a:lnTo>
                    <a:pt x="1415" y="56"/>
                  </a:lnTo>
                  <a:lnTo>
                    <a:pt x="1519" y="95"/>
                  </a:lnTo>
                  <a:lnTo>
                    <a:pt x="1617" y="146"/>
                  </a:lnTo>
                  <a:lnTo>
                    <a:pt x="1712" y="209"/>
                  </a:lnTo>
                  <a:lnTo>
                    <a:pt x="1800" y="281"/>
                  </a:lnTo>
                  <a:lnTo>
                    <a:pt x="1879" y="362"/>
                  </a:lnTo>
                  <a:lnTo>
                    <a:pt x="1951" y="450"/>
                  </a:lnTo>
                  <a:lnTo>
                    <a:pt x="2011" y="545"/>
                  </a:lnTo>
                  <a:lnTo>
                    <a:pt x="2060" y="643"/>
                  </a:lnTo>
                  <a:lnTo>
                    <a:pt x="2097" y="745"/>
                  </a:lnTo>
                  <a:lnTo>
                    <a:pt x="2127" y="852"/>
                  </a:lnTo>
                  <a:lnTo>
                    <a:pt x="2144" y="961"/>
                  </a:lnTo>
                  <a:lnTo>
                    <a:pt x="2151" y="1074"/>
                  </a:lnTo>
                  <a:lnTo>
                    <a:pt x="2144" y="1188"/>
                  </a:lnTo>
                  <a:lnTo>
                    <a:pt x="2127" y="1299"/>
                  </a:lnTo>
                  <a:lnTo>
                    <a:pt x="2097" y="1404"/>
                  </a:lnTo>
                  <a:lnTo>
                    <a:pt x="2060" y="1506"/>
                  </a:lnTo>
                  <a:lnTo>
                    <a:pt x="2011" y="1603"/>
                  </a:lnTo>
                  <a:lnTo>
                    <a:pt x="1949" y="1701"/>
                  </a:lnTo>
                  <a:lnTo>
                    <a:pt x="1877" y="1789"/>
                  </a:lnTo>
                  <a:lnTo>
                    <a:pt x="1795" y="1873"/>
                  </a:lnTo>
                  <a:lnTo>
                    <a:pt x="1707" y="1944"/>
                  </a:lnTo>
                  <a:lnTo>
                    <a:pt x="1610" y="2007"/>
                  </a:lnTo>
                  <a:lnTo>
                    <a:pt x="1512" y="2056"/>
                  </a:lnTo>
                  <a:lnTo>
                    <a:pt x="1410" y="2095"/>
                  </a:lnTo>
                  <a:lnTo>
                    <a:pt x="1301" y="2125"/>
                  </a:lnTo>
                  <a:lnTo>
                    <a:pt x="1189" y="2142"/>
                  </a:lnTo>
                  <a:lnTo>
                    <a:pt x="1076" y="2149"/>
                  </a:lnTo>
                  <a:lnTo>
                    <a:pt x="1076" y="2149"/>
                  </a:lnTo>
                  <a:lnTo>
                    <a:pt x="959" y="2142"/>
                  </a:lnTo>
                  <a:lnTo>
                    <a:pt x="846" y="2123"/>
                  </a:lnTo>
                  <a:lnTo>
                    <a:pt x="737" y="2093"/>
                  </a:lnTo>
                  <a:lnTo>
                    <a:pt x="632" y="2054"/>
                  </a:lnTo>
                  <a:lnTo>
                    <a:pt x="535" y="2003"/>
                  </a:lnTo>
                  <a:lnTo>
                    <a:pt x="439" y="1940"/>
                  </a:lnTo>
                  <a:lnTo>
                    <a:pt x="351" y="1868"/>
                  </a:lnTo>
                  <a:lnTo>
                    <a:pt x="272" y="1787"/>
                  </a:lnTo>
                  <a:lnTo>
                    <a:pt x="200" y="1699"/>
                  </a:lnTo>
                  <a:lnTo>
                    <a:pt x="140" y="1603"/>
                  </a:lnTo>
                  <a:lnTo>
                    <a:pt x="91" y="1506"/>
                  </a:lnTo>
                  <a:lnTo>
                    <a:pt x="52" y="1404"/>
                  </a:lnTo>
                  <a:lnTo>
                    <a:pt x="24" y="1299"/>
                  </a:lnTo>
                  <a:lnTo>
                    <a:pt x="7" y="1188"/>
                  </a:lnTo>
                  <a:lnTo>
                    <a:pt x="0" y="1074"/>
                  </a:lnTo>
                  <a:lnTo>
                    <a:pt x="7" y="961"/>
                  </a:lnTo>
                  <a:lnTo>
                    <a:pt x="24" y="852"/>
                  </a:lnTo>
                  <a:lnTo>
                    <a:pt x="52" y="745"/>
                  </a:lnTo>
                  <a:lnTo>
                    <a:pt x="91" y="643"/>
                  </a:lnTo>
                  <a:lnTo>
                    <a:pt x="140" y="548"/>
                  </a:lnTo>
                  <a:lnTo>
                    <a:pt x="202" y="450"/>
                  </a:lnTo>
                  <a:lnTo>
                    <a:pt x="274" y="360"/>
                  </a:lnTo>
                  <a:lnTo>
                    <a:pt x="356" y="278"/>
                  </a:lnTo>
                  <a:lnTo>
                    <a:pt x="444" y="204"/>
                  </a:lnTo>
                  <a:lnTo>
                    <a:pt x="541" y="141"/>
                  </a:lnTo>
                  <a:lnTo>
                    <a:pt x="639" y="93"/>
                  </a:lnTo>
                  <a:lnTo>
                    <a:pt x="741" y="53"/>
                  </a:lnTo>
                  <a:lnTo>
                    <a:pt x="850" y="25"/>
                  </a:lnTo>
                  <a:lnTo>
                    <a:pt x="959" y="7"/>
                  </a:lnTo>
                  <a:lnTo>
                    <a:pt x="107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283" name="Group 282"/>
            <p:cNvGrpSpPr/>
            <p:nvPr/>
          </p:nvGrpSpPr>
          <p:grpSpPr>
            <a:xfrm>
              <a:off x="4387458" y="1716091"/>
              <a:ext cx="3413910" cy="3417855"/>
              <a:chOff x="4387458" y="1722047"/>
              <a:chExt cx="3413910" cy="3413908"/>
            </a:xfrm>
            <a:effectLst>
              <a:outerShdw blurRad="292100" sx="108000" sy="108000" algn="ctr" rotWithShape="0">
                <a:prstClr val="black">
                  <a:alpha val="40000"/>
                </a:prstClr>
              </a:outerShdw>
            </a:effectLst>
          </p:grpSpPr>
          <p:sp>
            <p:nvSpPr>
              <p:cNvPr id="65" name="Freeform 64"/>
              <p:cNvSpPr>
                <a:spLocks/>
              </p:cNvSpPr>
              <p:nvPr/>
            </p:nvSpPr>
            <p:spPr bwMode="auto">
              <a:xfrm>
                <a:off x="6094937" y="1722047"/>
                <a:ext cx="859497" cy="842747"/>
              </a:xfrm>
              <a:custGeom>
                <a:avLst/>
                <a:gdLst>
                  <a:gd name="T0" fmla="*/ 0 w 1642"/>
                  <a:gd name="T1" fmla="*/ 0 h 1610"/>
                  <a:gd name="T2" fmla="*/ 198 w 1642"/>
                  <a:gd name="T3" fmla="*/ 6 h 1610"/>
                  <a:gd name="T4" fmla="*/ 392 w 1642"/>
                  <a:gd name="T5" fmla="*/ 22 h 1610"/>
                  <a:gd name="T6" fmla="*/ 584 w 1642"/>
                  <a:gd name="T7" fmla="*/ 51 h 1610"/>
                  <a:gd name="T8" fmla="*/ 772 w 1642"/>
                  <a:gd name="T9" fmla="*/ 91 h 1610"/>
                  <a:gd name="T10" fmla="*/ 955 w 1642"/>
                  <a:gd name="T11" fmla="*/ 142 h 1610"/>
                  <a:gd name="T12" fmla="*/ 1134 w 1642"/>
                  <a:gd name="T13" fmla="*/ 202 h 1610"/>
                  <a:gd name="T14" fmla="*/ 1310 w 1642"/>
                  <a:gd name="T15" fmla="*/ 273 h 1610"/>
                  <a:gd name="T16" fmla="*/ 1478 w 1642"/>
                  <a:gd name="T17" fmla="*/ 352 h 1610"/>
                  <a:gd name="T18" fmla="*/ 1642 w 1642"/>
                  <a:gd name="T19" fmla="*/ 441 h 1610"/>
                  <a:gd name="T20" fmla="*/ 961 w 1642"/>
                  <a:gd name="T21" fmla="*/ 1610 h 1610"/>
                  <a:gd name="T22" fmla="*/ 837 w 1642"/>
                  <a:gd name="T23" fmla="*/ 1543 h 1610"/>
                  <a:gd name="T24" fmla="*/ 708 w 1642"/>
                  <a:gd name="T25" fmla="*/ 1486 h 1610"/>
                  <a:gd name="T26" fmla="*/ 574 w 1642"/>
                  <a:gd name="T27" fmla="*/ 1438 h 1610"/>
                  <a:gd name="T28" fmla="*/ 437 w 1642"/>
                  <a:gd name="T29" fmla="*/ 1400 h 1610"/>
                  <a:gd name="T30" fmla="*/ 295 w 1642"/>
                  <a:gd name="T31" fmla="*/ 1373 h 1610"/>
                  <a:gd name="T32" fmla="*/ 148 w 1642"/>
                  <a:gd name="T33" fmla="*/ 1355 h 1610"/>
                  <a:gd name="T34" fmla="*/ 0 w 1642"/>
                  <a:gd name="T35" fmla="*/ 1349 h 1610"/>
                  <a:gd name="T36" fmla="*/ 0 w 1642"/>
                  <a:gd name="T37" fmla="*/ 0 h 1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642" h="1610">
                    <a:moveTo>
                      <a:pt x="0" y="0"/>
                    </a:moveTo>
                    <a:lnTo>
                      <a:pt x="198" y="6"/>
                    </a:lnTo>
                    <a:lnTo>
                      <a:pt x="392" y="22"/>
                    </a:lnTo>
                    <a:lnTo>
                      <a:pt x="584" y="51"/>
                    </a:lnTo>
                    <a:lnTo>
                      <a:pt x="772" y="91"/>
                    </a:lnTo>
                    <a:lnTo>
                      <a:pt x="955" y="142"/>
                    </a:lnTo>
                    <a:lnTo>
                      <a:pt x="1134" y="202"/>
                    </a:lnTo>
                    <a:lnTo>
                      <a:pt x="1310" y="273"/>
                    </a:lnTo>
                    <a:lnTo>
                      <a:pt x="1478" y="352"/>
                    </a:lnTo>
                    <a:lnTo>
                      <a:pt x="1642" y="441"/>
                    </a:lnTo>
                    <a:lnTo>
                      <a:pt x="961" y="1610"/>
                    </a:lnTo>
                    <a:lnTo>
                      <a:pt x="837" y="1543"/>
                    </a:lnTo>
                    <a:lnTo>
                      <a:pt x="708" y="1486"/>
                    </a:lnTo>
                    <a:lnTo>
                      <a:pt x="574" y="1438"/>
                    </a:lnTo>
                    <a:lnTo>
                      <a:pt x="437" y="1400"/>
                    </a:lnTo>
                    <a:lnTo>
                      <a:pt x="295" y="1373"/>
                    </a:lnTo>
                    <a:lnTo>
                      <a:pt x="148" y="1355"/>
                    </a:lnTo>
                    <a:lnTo>
                      <a:pt x="0" y="1349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86000">
                    <a:schemeClr val="bg1">
                      <a:lumMod val="85000"/>
                    </a:schemeClr>
                  </a:gs>
                  <a:gs pos="20000">
                    <a:schemeClr val="bg1">
                      <a:lumMod val="95000"/>
                    </a:schemeClr>
                  </a:gs>
                </a:gsLst>
                <a:lin ang="10800000" scaled="1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6" name="Freeform 65"/>
              <p:cNvSpPr>
                <a:spLocks/>
              </p:cNvSpPr>
              <p:nvPr/>
            </p:nvSpPr>
            <p:spPr bwMode="auto">
              <a:xfrm>
                <a:off x="4387458" y="2589918"/>
                <a:ext cx="836466" cy="838559"/>
              </a:xfrm>
              <a:custGeom>
                <a:avLst/>
                <a:gdLst>
                  <a:gd name="T0" fmla="*/ 421 w 1598"/>
                  <a:gd name="T1" fmla="*/ 0 h 1602"/>
                  <a:gd name="T2" fmla="*/ 1598 w 1598"/>
                  <a:gd name="T3" fmla="*/ 662 h 1602"/>
                  <a:gd name="T4" fmla="*/ 1535 w 1598"/>
                  <a:gd name="T5" fmla="*/ 785 h 1602"/>
                  <a:gd name="T6" fmla="*/ 1480 w 1598"/>
                  <a:gd name="T7" fmla="*/ 912 h 1602"/>
                  <a:gd name="T8" fmla="*/ 1434 w 1598"/>
                  <a:gd name="T9" fmla="*/ 1042 h 1602"/>
                  <a:gd name="T10" fmla="*/ 1399 w 1598"/>
                  <a:gd name="T11" fmla="*/ 1177 h 1602"/>
                  <a:gd name="T12" fmla="*/ 1373 w 1598"/>
                  <a:gd name="T13" fmla="*/ 1315 h 1602"/>
                  <a:gd name="T14" fmla="*/ 1355 w 1598"/>
                  <a:gd name="T15" fmla="*/ 1458 h 1602"/>
                  <a:gd name="T16" fmla="*/ 1351 w 1598"/>
                  <a:gd name="T17" fmla="*/ 1602 h 1602"/>
                  <a:gd name="T18" fmla="*/ 0 w 1598"/>
                  <a:gd name="T19" fmla="*/ 1602 h 1602"/>
                  <a:gd name="T20" fmla="*/ 6 w 1598"/>
                  <a:gd name="T21" fmla="*/ 1410 h 1602"/>
                  <a:gd name="T22" fmla="*/ 22 w 1598"/>
                  <a:gd name="T23" fmla="*/ 1220 h 1602"/>
                  <a:gd name="T24" fmla="*/ 49 w 1598"/>
                  <a:gd name="T25" fmla="*/ 1032 h 1602"/>
                  <a:gd name="T26" fmla="*/ 87 w 1598"/>
                  <a:gd name="T27" fmla="*/ 850 h 1602"/>
                  <a:gd name="T28" fmla="*/ 135 w 1598"/>
                  <a:gd name="T29" fmla="*/ 670 h 1602"/>
                  <a:gd name="T30" fmla="*/ 192 w 1598"/>
                  <a:gd name="T31" fmla="*/ 496 h 1602"/>
                  <a:gd name="T32" fmla="*/ 259 w 1598"/>
                  <a:gd name="T33" fmla="*/ 326 h 1602"/>
                  <a:gd name="T34" fmla="*/ 336 w 1598"/>
                  <a:gd name="T35" fmla="*/ 160 h 1602"/>
                  <a:gd name="T36" fmla="*/ 421 w 1598"/>
                  <a:gd name="T37" fmla="*/ 0 h 16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98" h="1602">
                    <a:moveTo>
                      <a:pt x="421" y="0"/>
                    </a:moveTo>
                    <a:lnTo>
                      <a:pt x="1598" y="662"/>
                    </a:lnTo>
                    <a:lnTo>
                      <a:pt x="1535" y="785"/>
                    </a:lnTo>
                    <a:lnTo>
                      <a:pt x="1480" y="912"/>
                    </a:lnTo>
                    <a:lnTo>
                      <a:pt x="1434" y="1042"/>
                    </a:lnTo>
                    <a:lnTo>
                      <a:pt x="1399" y="1177"/>
                    </a:lnTo>
                    <a:lnTo>
                      <a:pt x="1373" y="1315"/>
                    </a:lnTo>
                    <a:lnTo>
                      <a:pt x="1355" y="1458"/>
                    </a:lnTo>
                    <a:lnTo>
                      <a:pt x="1351" y="1602"/>
                    </a:lnTo>
                    <a:lnTo>
                      <a:pt x="0" y="1602"/>
                    </a:lnTo>
                    <a:lnTo>
                      <a:pt x="6" y="1410"/>
                    </a:lnTo>
                    <a:lnTo>
                      <a:pt x="22" y="1220"/>
                    </a:lnTo>
                    <a:lnTo>
                      <a:pt x="49" y="1032"/>
                    </a:lnTo>
                    <a:lnTo>
                      <a:pt x="87" y="850"/>
                    </a:lnTo>
                    <a:lnTo>
                      <a:pt x="135" y="670"/>
                    </a:lnTo>
                    <a:lnTo>
                      <a:pt x="192" y="496"/>
                    </a:lnTo>
                    <a:lnTo>
                      <a:pt x="259" y="326"/>
                    </a:lnTo>
                    <a:lnTo>
                      <a:pt x="336" y="160"/>
                    </a:lnTo>
                    <a:lnTo>
                      <a:pt x="421" y="0"/>
                    </a:lnTo>
                    <a:close/>
                  </a:path>
                </a:pathLst>
              </a:custGeom>
              <a:gradFill>
                <a:gsLst>
                  <a:gs pos="100000">
                    <a:schemeClr val="bg1">
                      <a:lumMod val="85000"/>
                    </a:schemeClr>
                  </a:gs>
                  <a:gs pos="60000">
                    <a:schemeClr val="bg1">
                      <a:lumMod val="95000"/>
                    </a:schemeClr>
                  </a:gs>
                </a:gsLst>
                <a:lin ang="5400000" scaled="1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7" name="Freeform 66"/>
              <p:cNvSpPr>
                <a:spLocks/>
              </p:cNvSpPr>
              <p:nvPr/>
            </p:nvSpPr>
            <p:spPr bwMode="auto">
              <a:xfrm>
                <a:off x="4608352" y="1947128"/>
                <a:ext cx="989312" cy="989311"/>
              </a:xfrm>
              <a:custGeom>
                <a:avLst/>
                <a:gdLst>
                  <a:gd name="T0" fmla="*/ 1223 w 1891"/>
                  <a:gd name="T1" fmla="*/ 0 h 1891"/>
                  <a:gd name="T2" fmla="*/ 1891 w 1891"/>
                  <a:gd name="T3" fmla="*/ 1173 h 1891"/>
                  <a:gd name="T4" fmla="*/ 1767 w 1891"/>
                  <a:gd name="T5" fmla="*/ 1250 h 1891"/>
                  <a:gd name="T6" fmla="*/ 1650 w 1891"/>
                  <a:gd name="T7" fmla="*/ 1337 h 1891"/>
                  <a:gd name="T8" fmla="*/ 1539 w 1891"/>
                  <a:gd name="T9" fmla="*/ 1432 h 1891"/>
                  <a:gd name="T10" fmla="*/ 1435 w 1891"/>
                  <a:gd name="T11" fmla="*/ 1537 h 1891"/>
                  <a:gd name="T12" fmla="*/ 1340 w 1891"/>
                  <a:gd name="T13" fmla="*/ 1648 h 1891"/>
                  <a:gd name="T14" fmla="*/ 1255 w 1891"/>
                  <a:gd name="T15" fmla="*/ 1767 h 1891"/>
                  <a:gd name="T16" fmla="*/ 1177 w 1891"/>
                  <a:gd name="T17" fmla="*/ 1891 h 1891"/>
                  <a:gd name="T18" fmla="*/ 0 w 1891"/>
                  <a:gd name="T19" fmla="*/ 1229 h 1891"/>
                  <a:gd name="T20" fmla="*/ 91 w 1891"/>
                  <a:gd name="T21" fmla="*/ 1076 h 1891"/>
                  <a:gd name="T22" fmla="*/ 188 w 1891"/>
                  <a:gd name="T23" fmla="*/ 932 h 1891"/>
                  <a:gd name="T24" fmla="*/ 295 w 1891"/>
                  <a:gd name="T25" fmla="*/ 791 h 1891"/>
                  <a:gd name="T26" fmla="*/ 408 w 1891"/>
                  <a:gd name="T27" fmla="*/ 659 h 1891"/>
                  <a:gd name="T28" fmla="*/ 529 w 1891"/>
                  <a:gd name="T29" fmla="*/ 532 h 1891"/>
                  <a:gd name="T30" fmla="*/ 655 w 1891"/>
                  <a:gd name="T31" fmla="*/ 412 h 1891"/>
                  <a:gd name="T32" fmla="*/ 788 w 1891"/>
                  <a:gd name="T33" fmla="*/ 297 h 1891"/>
                  <a:gd name="T34" fmla="*/ 926 w 1891"/>
                  <a:gd name="T35" fmla="*/ 190 h 1891"/>
                  <a:gd name="T36" fmla="*/ 1073 w 1891"/>
                  <a:gd name="T37" fmla="*/ 91 h 1891"/>
                  <a:gd name="T38" fmla="*/ 1223 w 1891"/>
                  <a:gd name="T39" fmla="*/ 0 h 18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891" h="1891">
                    <a:moveTo>
                      <a:pt x="1223" y="0"/>
                    </a:moveTo>
                    <a:lnTo>
                      <a:pt x="1891" y="1173"/>
                    </a:lnTo>
                    <a:lnTo>
                      <a:pt x="1767" y="1250"/>
                    </a:lnTo>
                    <a:lnTo>
                      <a:pt x="1650" y="1337"/>
                    </a:lnTo>
                    <a:lnTo>
                      <a:pt x="1539" y="1432"/>
                    </a:lnTo>
                    <a:lnTo>
                      <a:pt x="1435" y="1537"/>
                    </a:lnTo>
                    <a:lnTo>
                      <a:pt x="1340" y="1648"/>
                    </a:lnTo>
                    <a:lnTo>
                      <a:pt x="1255" y="1767"/>
                    </a:lnTo>
                    <a:lnTo>
                      <a:pt x="1177" y="1891"/>
                    </a:lnTo>
                    <a:lnTo>
                      <a:pt x="0" y="1229"/>
                    </a:lnTo>
                    <a:lnTo>
                      <a:pt x="91" y="1076"/>
                    </a:lnTo>
                    <a:lnTo>
                      <a:pt x="188" y="932"/>
                    </a:lnTo>
                    <a:lnTo>
                      <a:pt x="295" y="791"/>
                    </a:lnTo>
                    <a:lnTo>
                      <a:pt x="408" y="659"/>
                    </a:lnTo>
                    <a:lnTo>
                      <a:pt x="529" y="532"/>
                    </a:lnTo>
                    <a:lnTo>
                      <a:pt x="655" y="412"/>
                    </a:lnTo>
                    <a:lnTo>
                      <a:pt x="788" y="297"/>
                    </a:lnTo>
                    <a:lnTo>
                      <a:pt x="926" y="190"/>
                    </a:lnTo>
                    <a:lnTo>
                      <a:pt x="1073" y="91"/>
                    </a:lnTo>
                    <a:lnTo>
                      <a:pt x="1223" y="0"/>
                    </a:lnTo>
                    <a:close/>
                  </a:path>
                </a:pathLst>
              </a:custGeom>
              <a:gradFill>
                <a:gsLst>
                  <a:gs pos="86000">
                    <a:schemeClr val="bg1">
                      <a:lumMod val="85000"/>
                    </a:schemeClr>
                  </a:gs>
                  <a:gs pos="17000">
                    <a:schemeClr val="bg1">
                      <a:lumMod val="95000"/>
                    </a:schemeClr>
                  </a:gs>
                </a:gsLst>
                <a:lin ang="10800000" scaled="1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8" name="Freeform 67"/>
              <p:cNvSpPr>
                <a:spLocks/>
              </p:cNvSpPr>
              <p:nvPr/>
            </p:nvSpPr>
            <p:spPr bwMode="auto">
              <a:xfrm>
                <a:off x="4387458" y="3428477"/>
                <a:ext cx="836466" cy="839606"/>
              </a:xfrm>
              <a:custGeom>
                <a:avLst/>
                <a:gdLst>
                  <a:gd name="T0" fmla="*/ 0 w 1598"/>
                  <a:gd name="T1" fmla="*/ 0 h 1604"/>
                  <a:gd name="T2" fmla="*/ 1351 w 1598"/>
                  <a:gd name="T3" fmla="*/ 0 h 1604"/>
                  <a:gd name="T4" fmla="*/ 1355 w 1598"/>
                  <a:gd name="T5" fmla="*/ 146 h 1604"/>
                  <a:gd name="T6" fmla="*/ 1373 w 1598"/>
                  <a:gd name="T7" fmla="*/ 289 h 1604"/>
                  <a:gd name="T8" fmla="*/ 1399 w 1598"/>
                  <a:gd name="T9" fmla="*/ 427 h 1604"/>
                  <a:gd name="T10" fmla="*/ 1434 w 1598"/>
                  <a:gd name="T11" fmla="*/ 562 h 1604"/>
                  <a:gd name="T12" fmla="*/ 1480 w 1598"/>
                  <a:gd name="T13" fmla="*/ 692 h 1604"/>
                  <a:gd name="T14" fmla="*/ 1535 w 1598"/>
                  <a:gd name="T15" fmla="*/ 819 h 1604"/>
                  <a:gd name="T16" fmla="*/ 1598 w 1598"/>
                  <a:gd name="T17" fmla="*/ 940 h 1604"/>
                  <a:gd name="T18" fmla="*/ 421 w 1598"/>
                  <a:gd name="T19" fmla="*/ 1604 h 1604"/>
                  <a:gd name="T20" fmla="*/ 336 w 1598"/>
                  <a:gd name="T21" fmla="*/ 1444 h 1604"/>
                  <a:gd name="T22" fmla="*/ 261 w 1598"/>
                  <a:gd name="T23" fmla="*/ 1280 h 1604"/>
                  <a:gd name="T24" fmla="*/ 194 w 1598"/>
                  <a:gd name="T25" fmla="*/ 1108 h 1604"/>
                  <a:gd name="T26" fmla="*/ 135 w 1598"/>
                  <a:gd name="T27" fmla="*/ 934 h 1604"/>
                  <a:gd name="T28" fmla="*/ 87 w 1598"/>
                  <a:gd name="T29" fmla="*/ 754 h 1604"/>
                  <a:gd name="T30" fmla="*/ 49 w 1598"/>
                  <a:gd name="T31" fmla="*/ 570 h 1604"/>
                  <a:gd name="T32" fmla="*/ 22 w 1598"/>
                  <a:gd name="T33" fmla="*/ 384 h 1604"/>
                  <a:gd name="T34" fmla="*/ 6 w 1598"/>
                  <a:gd name="T35" fmla="*/ 194 h 1604"/>
                  <a:gd name="T36" fmla="*/ 0 w 1598"/>
                  <a:gd name="T37" fmla="*/ 0 h 1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98" h="1604">
                    <a:moveTo>
                      <a:pt x="0" y="0"/>
                    </a:moveTo>
                    <a:lnTo>
                      <a:pt x="1351" y="0"/>
                    </a:lnTo>
                    <a:lnTo>
                      <a:pt x="1355" y="146"/>
                    </a:lnTo>
                    <a:lnTo>
                      <a:pt x="1373" y="289"/>
                    </a:lnTo>
                    <a:lnTo>
                      <a:pt x="1399" y="427"/>
                    </a:lnTo>
                    <a:lnTo>
                      <a:pt x="1434" y="562"/>
                    </a:lnTo>
                    <a:lnTo>
                      <a:pt x="1480" y="692"/>
                    </a:lnTo>
                    <a:lnTo>
                      <a:pt x="1535" y="819"/>
                    </a:lnTo>
                    <a:lnTo>
                      <a:pt x="1598" y="940"/>
                    </a:lnTo>
                    <a:lnTo>
                      <a:pt x="421" y="1604"/>
                    </a:lnTo>
                    <a:lnTo>
                      <a:pt x="336" y="1444"/>
                    </a:lnTo>
                    <a:lnTo>
                      <a:pt x="261" y="1280"/>
                    </a:lnTo>
                    <a:lnTo>
                      <a:pt x="194" y="1108"/>
                    </a:lnTo>
                    <a:lnTo>
                      <a:pt x="135" y="934"/>
                    </a:lnTo>
                    <a:lnTo>
                      <a:pt x="87" y="754"/>
                    </a:lnTo>
                    <a:lnTo>
                      <a:pt x="49" y="570"/>
                    </a:lnTo>
                    <a:lnTo>
                      <a:pt x="22" y="384"/>
                    </a:lnTo>
                    <a:lnTo>
                      <a:pt x="6" y="194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49000">
                    <a:schemeClr val="bg1">
                      <a:lumMod val="85000"/>
                    </a:schemeClr>
                  </a:gs>
                  <a:gs pos="29000">
                    <a:schemeClr val="bg1">
                      <a:lumMod val="95000"/>
                    </a:schemeClr>
                  </a:gs>
                </a:gsLst>
                <a:lin ang="3960000" scaled="0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9" name="Freeform 68"/>
              <p:cNvSpPr>
                <a:spLocks/>
              </p:cNvSpPr>
              <p:nvPr/>
            </p:nvSpPr>
            <p:spPr bwMode="auto">
              <a:xfrm>
                <a:off x="5248002" y="1722047"/>
                <a:ext cx="846935" cy="838559"/>
              </a:xfrm>
              <a:custGeom>
                <a:avLst/>
                <a:gdLst>
                  <a:gd name="T0" fmla="*/ 1618 w 1618"/>
                  <a:gd name="T1" fmla="*/ 0 h 1602"/>
                  <a:gd name="T2" fmla="*/ 1618 w 1618"/>
                  <a:gd name="T3" fmla="*/ 0 h 1602"/>
                  <a:gd name="T4" fmla="*/ 1618 w 1618"/>
                  <a:gd name="T5" fmla="*/ 1349 h 1602"/>
                  <a:gd name="T6" fmla="*/ 1618 w 1618"/>
                  <a:gd name="T7" fmla="*/ 1349 h 1602"/>
                  <a:gd name="T8" fmla="*/ 1472 w 1618"/>
                  <a:gd name="T9" fmla="*/ 1355 h 1602"/>
                  <a:gd name="T10" fmla="*/ 1327 w 1618"/>
                  <a:gd name="T11" fmla="*/ 1371 h 1602"/>
                  <a:gd name="T12" fmla="*/ 1187 w 1618"/>
                  <a:gd name="T13" fmla="*/ 1399 h 1602"/>
                  <a:gd name="T14" fmla="*/ 1050 w 1618"/>
                  <a:gd name="T15" fmla="*/ 1436 h 1602"/>
                  <a:gd name="T16" fmla="*/ 920 w 1618"/>
                  <a:gd name="T17" fmla="*/ 1482 h 1602"/>
                  <a:gd name="T18" fmla="*/ 791 w 1618"/>
                  <a:gd name="T19" fmla="*/ 1537 h 1602"/>
                  <a:gd name="T20" fmla="*/ 668 w 1618"/>
                  <a:gd name="T21" fmla="*/ 1602 h 1602"/>
                  <a:gd name="T22" fmla="*/ 0 w 1618"/>
                  <a:gd name="T23" fmla="*/ 429 h 1602"/>
                  <a:gd name="T24" fmla="*/ 160 w 1618"/>
                  <a:gd name="T25" fmla="*/ 342 h 1602"/>
                  <a:gd name="T26" fmla="*/ 328 w 1618"/>
                  <a:gd name="T27" fmla="*/ 265 h 1602"/>
                  <a:gd name="T28" fmla="*/ 500 w 1618"/>
                  <a:gd name="T29" fmla="*/ 196 h 1602"/>
                  <a:gd name="T30" fmla="*/ 676 w 1618"/>
                  <a:gd name="T31" fmla="*/ 136 h 1602"/>
                  <a:gd name="T32" fmla="*/ 856 w 1618"/>
                  <a:gd name="T33" fmla="*/ 89 h 1602"/>
                  <a:gd name="T34" fmla="*/ 1042 w 1618"/>
                  <a:gd name="T35" fmla="*/ 49 h 1602"/>
                  <a:gd name="T36" fmla="*/ 1230 w 1618"/>
                  <a:gd name="T37" fmla="*/ 22 h 1602"/>
                  <a:gd name="T38" fmla="*/ 1422 w 1618"/>
                  <a:gd name="T39" fmla="*/ 4 h 1602"/>
                  <a:gd name="T40" fmla="*/ 1618 w 1618"/>
                  <a:gd name="T41" fmla="*/ 0 h 16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18" h="1602">
                    <a:moveTo>
                      <a:pt x="1618" y="0"/>
                    </a:moveTo>
                    <a:lnTo>
                      <a:pt x="1618" y="0"/>
                    </a:lnTo>
                    <a:lnTo>
                      <a:pt x="1618" y="1349"/>
                    </a:lnTo>
                    <a:lnTo>
                      <a:pt x="1618" y="1349"/>
                    </a:lnTo>
                    <a:lnTo>
                      <a:pt x="1472" y="1355"/>
                    </a:lnTo>
                    <a:lnTo>
                      <a:pt x="1327" y="1371"/>
                    </a:lnTo>
                    <a:lnTo>
                      <a:pt x="1187" y="1399"/>
                    </a:lnTo>
                    <a:lnTo>
                      <a:pt x="1050" y="1436"/>
                    </a:lnTo>
                    <a:lnTo>
                      <a:pt x="920" y="1482"/>
                    </a:lnTo>
                    <a:lnTo>
                      <a:pt x="791" y="1537"/>
                    </a:lnTo>
                    <a:lnTo>
                      <a:pt x="668" y="1602"/>
                    </a:lnTo>
                    <a:lnTo>
                      <a:pt x="0" y="429"/>
                    </a:lnTo>
                    <a:lnTo>
                      <a:pt x="160" y="342"/>
                    </a:lnTo>
                    <a:lnTo>
                      <a:pt x="328" y="265"/>
                    </a:lnTo>
                    <a:lnTo>
                      <a:pt x="500" y="196"/>
                    </a:lnTo>
                    <a:lnTo>
                      <a:pt x="676" y="136"/>
                    </a:lnTo>
                    <a:lnTo>
                      <a:pt x="856" y="89"/>
                    </a:lnTo>
                    <a:lnTo>
                      <a:pt x="1042" y="49"/>
                    </a:lnTo>
                    <a:lnTo>
                      <a:pt x="1230" y="22"/>
                    </a:lnTo>
                    <a:lnTo>
                      <a:pt x="1422" y="4"/>
                    </a:lnTo>
                    <a:lnTo>
                      <a:pt x="1618" y="0"/>
                    </a:lnTo>
                    <a:close/>
                  </a:path>
                </a:pathLst>
              </a:custGeom>
              <a:gradFill>
                <a:gsLst>
                  <a:gs pos="86000">
                    <a:schemeClr val="bg1">
                      <a:lumMod val="85000"/>
                    </a:schemeClr>
                  </a:gs>
                  <a:gs pos="17000">
                    <a:schemeClr val="bg1">
                      <a:lumMod val="95000"/>
                    </a:schemeClr>
                  </a:gs>
                </a:gsLst>
                <a:lin ang="10800000" scaled="1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0" name="Freeform 69"/>
              <p:cNvSpPr>
                <a:spLocks/>
              </p:cNvSpPr>
              <p:nvPr/>
            </p:nvSpPr>
            <p:spPr bwMode="auto">
              <a:xfrm>
                <a:off x="6965949" y="2588872"/>
                <a:ext cx="835419" cy="839606"/>
              </a:xfrm>
              <a:custGeom>
                <a:avLst/>
                <a:gdLst>
                  <a:gd name="T0" fmla="*/ 1175 w 1596"/>
                  <a:gd name="T1" fmla="*/ 0 h 1604"/>
                  <a:gd name="T2" fmla="*/ 1260 w 1596"/>
                  <a:gd name="T3" fmla="*/ 160 h 1604"/>
                  <a:gd name="T4" fmla="*/ 1337 w 1596"/>
                  <a:gd name="T5" fmla="*/ 326 h 1604"/>
                  <a:gd name="T6" fmla="*/ 1404 w 1596"/>
                  <a:gd name="T7" fmla="*/ 496 h 1604"/>
                  <a:gd name="T8" fmla="*/ 1462 w 1596"/>
                  <a:gd name="T9" fmla="*/ 672 h 1604"/>
                  <a:gd name="T10" fmla="*/ 1509 w 1596"/>
                  <a:gd name="T11" fmla="*/ 850 h 1604"/>
                  <a:gd name="T12" fmla="*/ 1547 w 1596"/>
                  <a:gd name="T13" fmla="*/ 1034 h 1604"/>
                  <a:gd name="T14" fmla="*/ 1574 w 1596"/>
                  <a:gd name="T15" fmla="*/ 1222 h 1604"/>
                  <a:gd name="T16" fmla="*/ 1592 w 1596"/>
                  <a:gd name="T17" fmla="*/ 1412 h 1604"/>
                  <a:gd name="T18" fmla="*/ 1596 w 1596"/>
                  <a:gd name="T19" fmla="*/ 1604 h 1604"/>
                  <a:gd name="T20" fmla="*/ 247 w 1596"/>
                  <a:gd name="T21" fmla="*/ 1604 h 1604"/>
                  <a:gd name="T22" fmla="*/ 241 w 1596"/>
                  <a:gd name="T23" fmla="*/ 1460 h 1604"/>
                  <a:gd name="T24" fmla="*/ 225 w 1596"/>
                  <a:gd name="T25" fmla="*/ 1317 h 1604"/>
                  <a:gd name="T26" fmla="*/ 199 w 1596"/>
                  <a:gd name="T27" fmla="*/ 1179 h 1604"/>
                  <a:gd name="T28" fmla="*/ 162 w 1596"/>
                  <a:gd name="T29" fmla="*/ 1044 h 1604"/>
                  <a:gd name="T30" fmla="*/ 116 w 1596"/>
                  <a:gd name="T31" fmla="*/ 912 h 1604"/>
                  <a:gd name="T32" fmla="*/ 63 w 1596"/>
                  <a:gd name="T33" fmla="*/ 785 h 1604"/>
                  <a:gd name="T34" fmla="*/ 0 w 1596"/>
                  <a:gd name="T35" fmla="*/ 664 h 1604"/>
                  <a:gd name="T36" fmla="*/ 1175 w 1596"/>
                  <a:gd name="T37" fmla="*/ 0 h 1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96" h="1604">
                    <a:moveTo>
                      <a:pt x="1175" y="0"/>
                    </a:moveTo>
                    <a:lnTo>
                      <a:pt x="1260" y="160"/>
                    </a:lnTo>
                    <a:lnTo>
                      <a:pt x="1337" y="326"/>
                    </a:lnTo>
                    <a:lnTo>
                      <a:pt x="1404" y="496"/>
                    </a:lnTo>
                    <a:lnTo>
                      <a:pt x="1462" y="672"/>
                    </a:lnTo>
                    <a:lnTo>
                      <a:pt x="1509" y="850"/>
                    </a:lnTo>
                    <a:lnTo>
                      <a:pt x="1547" y="1034"/>
                    </a:lnTo>
                    <a:lnTo>
                      <a:pt x="1574" y="1222"/>
                    </a:lnTo>
                    <a:lnTo>
                      <a:pt x="1592" y="1412"/>
                    </a:lnTo>
                    <a:lnTo>
                      <a:pt x="1596" y="1604"/>
                    </a:lnTo>
                    <a:lnTo>
                      <a:pt x="247" y="1604"/>
                    </a:lnTo>
                    <a:lnTo>
                      <a:pt x="241" y="1460"/>
                    </a:lnTo>
                    <a:lnTo>
                      <a:pt x="225" y="1317"/>
                    </a:lnTo>
                    <a:lnTo>
                      <a:pt x="199" y="1179"/>
                    </a:lnTo>
                    <a:lnTo>
                      <a:pt x="162" y="1044"/>
                    </a:lnTo>
                    <a:lnTo>
                      <a:pt x="116" y="912"/>
                    </a:lnTo>
                    <a:lnTo>
                      <a:pt x="63" y="785"/>
                    </a:lnTo>
                    <a:lnTo>
                      <a:pt x="0" y="664"/>
                    </a:lnTo>
                    <a:lnTo>
                      <a:pt x="1175" y="0"/>
                    </a:lnTo>
                    <a:close/>
                  </a:path>
                </a:pathLst>
              </a:custGeom>
              <a:gradFill>
                <a:gsLst>
                  <a:gs pos="86000">
                    <a:schemeClr val="bg1">
                      <a:lumMod val="85000"/>
                    </a:schemeClr>
                  </a:gs>
                  <a:gs pos="17000">
                    <a:schemeClr val="bg1">
                      <a:lumMod val="95000"/>
                    </a:schemeClr>
                  </a:gs>
                </a:gsLst>
                <a:lin ang="15000000" scaled="0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1" name="Freeform 70"/>
              <p:cNvSpPr>
                <a:spLocks/>
              </p:cNvSpPr>
              <p:nvPr/>
            </p:nvSpPr>
            <p:spPr bwMode="auto">
              <a:xfrm>
                <a:off x="6598491" y="1953409"/>
                <a:ext cx="981983" cy="983030"/>
              </a:xfrm>
              <a:custGeom>
                <a:avLst/>
                <a:gdLst>
                  <a:gd name="T0" fmla="*/ 681 w 1878"/>
                  <a:gd name="T1" fmla="*/ 0 h 1879"/>
                  <a:gd name="T2" fmla="*/ 843 w 1878"/>
                  <a:gd name="T3" fmla="*/ 103 h 1879"/>
                  <a:gd name="T4" fmla="*/ 999 w 1878"/>
                  <a:gd name="T5" fmla="*/ 214 h 1879"/>
                  <a:gd name="T6" fmla="*/ 1150 w 1878"/>
                  <a:gd name="T7" fmla="*/ 332 h 1879"/>
                  <a:gd name="T8" fmla="*/ 1292 w 1878"/>
                  <a:gd name="T9" fmla="*/ 461 h 1879"/>
                  <a:gd name="T10" fmla="*/ 1427 w 1878"/>
                  <a:gd name="T11" fmla="*/ 597 h 1879"/>
                  <a:gd name="T12" fmla="*/ 1551 w 1878"/>
                  <a:gd name="T13" fmla="*/ 742 h 1879"/>
                  <a:gd name="T14" fmla="*/ 1670 w 1878"/>
                  <a:gd name="T15" fmla="*/ 892 h 1879"/>
                  <a:gd name="T16" fmla="*/ 1779 w 1878"/>
                  <a:gd name="T17" fmla="*/ 1050 h 1879"/>
                  <a:gd name="T18" fmla="*/ 1878 w 1878"/>
                  <a:gd name="T19" fmla="*/ 1215 h 1879"/>
                  <a:gd name="T20" fmla="*/ 703 w 1878"/>
                  <a:gd name="T21" fmla="*/ 1879 h 1879"/>
                  <a:gd name="T22" fmla="*/ 626 w 1878"/>
                  <a:gd name="T23" fmla="*/ 1757 h 1879"/>
                  <a:gd name="T24" fmla="*/ 540 w 1878"/>
                  <a:gd name="T25" fmla="*/ 1640 h 1879"/>
                  <a:gd name="T26" fmla="*/ 447 w 1878"/>
                  <a:gd name="T27" fmla="*/ 1529 h 1879"/>
                  <a:gd name="T28" fmla="*/ 347 w 1878"/>
                  <a:gd name="T29" fmla="*/ 1426 h 1879"/>
                  <a:gd name="T30" fmla="*/ 238 w 1878"/>
                  <a:gd name="T31" fmla="*/ 1333 h 1879"/>
                  <a:gd name="T32" fmla="*/ 123 w 1878"/>
                  <a:gd name="T33" fmla="*/ 1246 h 1879"/>
                  <a:gd name="T34" fmla="*/ 0 w 1878"/>
                  <a:gd name="T35" fmla="*/ 1169 h 1879"/>
                  <a:gd name="T36" fmla="*/ 681 w 1878"/>
                  <a:gd name="T37" fmla="*/ 0 h 18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878" h="1879">
                    <a:moveTo>
                      <a:pt x="681" y="0"/>
                    </a:moveTo>
                    <a:lnTo>
                      <a:pt x="843" y="103"/>
                    </a:lnTo>
                    <a:lnTo>
                      <a:pt x="999" y="214"/>
                    </a:lnTo>
                    <a:lnTo>
                      <a:pt x="1150" y="332"/>
                    </a:lnTo>
                    <a:lnTo>
                      <a:pt x="1292" y="461"/>
                    </a:lnTo>
                    <a:lnTo>
                      <a:pt x="1427" y="597"/>
                    </a:lnTo>
                    <a:lnTo>
                      <a:pt x="1551" y="742"/>
                    </a:lnTo>
                    <a:lnTo>
                      <a:pt x="1670" y="892"/>
                    </a:lnTo>
                    <a:lnTo>
                      <a:pt x="1779" y="1050"/>
                    </a:lnTo>
                    <a:lnTo>
                      <a:pt x="1878" y="1215"/>
                    </a:lnTo>
                    <a:lnTo>
                      <a:pt x="703" y="1879"/>
                    </a:lnTo>
                    <a:lnTo>
                      <a:pt x="626" y="1757"/>
                    </a:lnTo>
                    <a:lnTo>
                      <a:pt x="540" y="1640"/>
                    </a:lnTo>
                    <a:lnTo>
                      <a:pt x="447" y="1529"/>
                    </a:lnTo>
                    <a:lnTo>
                      <a:pt x="347" y="1426"/>
                    </a:lnTo>
                    <a:lnTo>
                      <a:pt x="238" y="1333"/>
                    </a:lnTo>
                    <a:lnTo>
                      <a:pt x="123" y="1246"/>
                    </a:lnTo>
                    <a:lnTo>
                      <a:pt x="0" y="1169"/>
                    </a:lnTo>
                    <a:lnTo>
                      <a:pt x="681" y="0"/>
                    </a:lnTo>
                    <a:close/>
                  </a:path>
                </a:pathLst>
              </a:custGeom>
              <a:gradFill>
                <a:gsLst>
                  <a:gs pos="86000">
                    <a:schemeClr val="bg1">
                      <a:lumMod val="85000"/>
                    </a:schemeClr>
                  </a:gs>
                  <a:gs pos="17000">
                    <a:schemeClr val="bg1">
                      <a:lumMod val="95000"/>
                    </a:schemeClr>
                  </a:gs>
                </a:gsLst>
                <a:lin ang="15000000" scaled="0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2" name="Freeform 71"/>
              <p:cNvSpPr>
                <a:spLocks/>
              </p:cNvSpPr>
              <p:nvPr/>
            </p:nvSpPr>
            <p:spPr bwMode="auto">
              <a:xfrm>
                <a:off x="4608352" y="3920516"/>
                <a:ext cx="983030" cy="983030"/>
              </a:xfrm>
              <a:custGeom>
                <a:avLst/>
                <a:gdLst>
                  <a:gd name="T0" fmla="*/ 1177 w 1880"/>
                  <a:gd name="T1" fmla="*/ 0 h 1879"/>
                  <a:gd name="T2" fmla="*/ 1253 w 1880"/>
                  <a:gd name="T3" fmla="*/ 124 h 1879"/>
                  <a:gd name="T4" fmla="*/ 1338 w 1880"/>
                  <a:gd name="T5" fmla="*/ 241 h 1879"/>
                  <a:gd name="T6" fmla="*/ 1431 w 1880"/>
                  <a:gd name="T7" fmla="*/ 350 h 1879"/>
                  <a:gd name="T8" fmla="*/ 1531 w 1880"/>
                  <a:gd name="T9" fmla="*/ 453 h 1879"/>
                  <a:gd name="T10" fmla="*/ 1640 w 1880"/>
                  <a:gd name="T11" fmla="*/ 548 h 1879"/>
                  <a:gd name="T12" fmla="*/ 1757 w 1880"/>
                  <a:gd name="T13" fmla="*/ 635 h 1879"/>
                  <a:gd name="T14" fmla="*/ 1880 w 1880"/>
                  <a:gd name="T15" fmla="*/ 712 h 1879"/>
                  <a:gd name="T16" fmla="*/ 1199 w 1880"/>
                  <a:gd name="T17" fmla="*/ 1879 h 1879"/>
                  <a:gd name="T18" fmla="*/ 1035 w 1880"/>
                  <a:gd name="T19" fmla="*/ 1778 h 1879"/>
                  <a:gd name="T20" fmla="*/ 879 w 1880"/>
                  <a:gd name="T21" fmla="*/ 1667 h 1879"/>
                  <a:gd name="T22" fmla="*/ 730 w 1880"/>
                  <a:gd name="T23" fmla="*/ 1547 h 1879"/>
                  <a:gd name="T24" fmla="*/ 588 w 1880"/>
                  <a:gd name="T25" fmla="*/ 1418 h 1879"/>
                  <a:gd name="T26" fmla="*/ 453 w 1880"/>
                  <a:gd name="T27" fmla="*/ 1283 h 1879"/>
                  <a:gd name="T28" fmla="*/ 327 w 1880"/>
                  <a:gd name="T29" fmla="*/ 1139 h 1879"/>
                  <a:gd name="T30" fmla="*/ 210 w 1880"/>
                  <a:gd name="T31" fmla="*/ 987 h 1879"/>
                  <a:gd name="T32" fmla="*/ 101 w 1880"/>
                  <a:gd name="T33" fmla="*/ 830 h 1879"/>
                  <a:gd name="T34" fmla="*/ 0 w 1880"/>
                  <a:gd name="T35" fmla="*/ 664 h 1879"/>
                  <a:gd name="T36" fmla="*/ 1177 w 1880"/>
                  <a:gd name="T37" fmla="*/ 0 h 18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880" h="1879">
                    <a:moveTo>
                      <a:pt x="1177" y="0"/>
                    </a:moveTo>
                    <a:lnTo>
                      <a:pt x="1253" y="124"/>
                    </a:lnTo>
                    <a:lnTo>
                      <a:pt x="1338" y="241"/>
                    </a:lnTo>
                    <a:lnTo>
                      <a:pt x="1431" y="350"/>
                    </a:lnTo>
                    <a:lnTo>
                      <a:pt x="1531" y="453"/>
                    </a:lnTo>
                    <a:lnTo>
                      <a:pt x="1640" y="548"/>
                    </a:lnTo>
                    <a:lnTo>
                      <a:pt x="1757" y="635"/>
                    </a:lnTo>
                    <a:lnTo>
                      <a:pt x="1880" y="712"/>
                    </a:lnTo>
                    <a:lnTo>
                      <a:pt x="1199" y="1879"/>
                    </a:lnTo>
                    <a:lnTo>
                      <a:pt x="1035" y="1778"/>
                    </a:lnTo>
                    <a:lnTo>
                      <a:pt x="879" y="1667"/>
                    </a:lnTo>
                    <a:lnTo>
                      <a:pt x="730" y="1547"/>
                    </a:lnTo>
                    <a:lnTo>
                      <a:pt x="588" y="1418"/>
                    </a:lnTo>
                    <a:lnTo>
                      <a:pt x="453" y="1283"/>
                    </a:lnTo>
                    <a:lnTo>
                      <a:pt x="327" y="1139"/>
                    </a:lnTo>
                    <a:lnTo>
                      <a:pt x="210" y="987"/>
                    </a:lnTo>
                    <a:lnTo>
                      <a:pt x="101" y="830"/>
                    </a:lnTo>
                    <a:lnTo>
                      <a:pt x="0" y="664"/>
                    </a:lnTo>
                    <a:lnTo>
                      <a:pt x="1177" y="0"/>
                    </a:lnTo>
                    <a:close/>
                  </a:path>
                </a:pathLst>
              </a:custGeom>
              <a:gradFill>
                <a:gsLst>
                  <a:gs pos="69000">
                    <a:schemeClr val="bg1">
                      <a:lumMod val="85000"/>
                    </a:schemeClr>
                  </a:gs>
                  <a:gs pos="48000">
                    <a:schemeClr val="bg1">
                      <a:lumMod val="95000"/>
                    </a:schemeClr>
                  </a:gs>
                </a:gsLst>
                <a:lin ang="3000000" scaled="0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" name="Freeform 72"/>
              <p:cNvSpPr>
                <a:spLocks/>
              </p:cNvSpPr>
              <p:nvPr/>
            </p:nvSpPr>
            <p:spPr bwMode="auto">
              <a:xfrm>
                <a:off x="6591163" y="3920516"/>
                <a:ext cx="990358" cy="990358"/>
              </a:xfrm>
              <a:custGeom>
                <a:avLst/>
                <a:gdLst>
                  <a:gd name="T0" fmla="*/ 716 w 1893"/>
                  <a:gd name="T1" fmla="*/ 0 h 1893"/>
                  <a:gd name="T2" fmla="*/ 1893 w 1893"/>
                  <a:gd name="T3" fmla="*/ 664 h 1893"/>
                  <a:gd name="T4" fmla="*/ 1802 w 1893"/>
                  <a:gd name="T5" fmla="*/ 815 h 1893"/>
                  <a:gd name="T6" fmla="*/ 1703 w 1893"/>
                  <a:gd name="T7" fmla="*/ 961 h 1893"/>
                  <a:gd name="T8" fmla="*/ 1596 w 1893"/>
                  <a:gd name="T9" fmla="*/ 1099 h 1893"/>
                  <a:gd name="T10" fmla="*/ 1483 w 1893"/>
                  <a:gd name="T11" fmla="*/ 1234 h 1893"/>
                  <a:gd name="T12" fmla="*/ 1365 w 1893"/>
                  <a:gd name="T13" fmla="*/ 1361 h 1893"/>
                  <a:gd name="T14" fmla="*/ 1238 w 1893"/>
                  <a:gd name="T15" fmla="*/ 1481 h 1893"/>
                  <a:gd name="T16" fmla="*/ 1103 w 1893"/>
                  <a:gd name="T17" fmla="*/ 1596 h 1893"/>
                  <a:gd name="T18" fmla="*/ 965 w 1893"/>
                  <a:gd name="T19" fmla="*/ 1701 h 1893"/>
                  <a:gd name="T20" fmla="*/ 821 w 1893"/>
                  <a:gd name="T21" fmla="*/ 1802 h 1893"/>
                  <a:gd name="T22" fmla="*/ 670 w 1893"/>
                  <a:gd name="T23" fmla="*/ 1893 h 1893"/>
                  <a:gd name="T24" fmla="*/ 0 w 1893"/>
                  <a:gd name="T25" fmla="*/ 720 h 1893"/>
                  <a:gd name="T26" fmla="*/ 124 w 1893"/>
                  <a:gd name="T27" fmla="*/ 641 h 1893"/>
                  <a:gd name="T28" fmla="*/ 243 w 1893"/>
                  <a:gd name="T29" fmla="*/ 554 h 1893"/>
                  <a:gd name="T30" fmla="*/ 354 w 1893"/>
                  <a:gd name="T31" fmla="*/ 459 h 1893"/>
                  <a:gd name="T32" fmla="*/ 457 w 1893"/>
                  <a:gd name="T33" fmla="*/ 356 h 1893"/>
                  <a:gd name="T34" fmla="*/ 551 w 1893"/>
                  <a:gd name="T35" fmla="*/ 243 h 1893"/>
                  <a:gd name="T36" fmla="*/ 639 w 1893"/>
                  <a:gd name="T37" fmla="*/ 124 h 1893"/>
                  <a:gd name="T38" fmla="*/ 716 w 1893"/>
                  <a:gd name="T39" fmla="*/ 0 h 18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893" h="1893">
                    <a:moveTo>
                      <a:pt x="716" y="0"/>
                    </a:moveTo>
                    <a:lnTo>
                      <a:pt x="1893" y="664"/>
                    </a:lnTo>
                    <a:lnTo>
                      <a:pt x="1802" y="815"/>
                    </a:lnTo>
                    <a:lnTo>
                      <a:pt x="1703" y="961"/>
                    </a:lnTo>
                    <a:lnTo>
                      <a:pt x="1596" y="1099"/>
                    </a:lnTo>
                    <a:lnTo>
                      <a:pt x="1483" y="1234"/>
                    </a:lnTo>
                    <a:lnTo>
                      <a:pt x="1365" y="1361"/>
                    </a:lnTo>
                    <a:lnTo>
                      <a:pt x="1238" y="1481"/>
                    </a:lnTo>
                    <a:lnTo>
                      <a:pt x="1103" y="1596"/>
                    </a:lnTo>
                    <a:lnTo>
                      <a:pt x="965" y="1701"/>
                    </a:lnTo>
                    <a:lnTo>
                      <a:pt x="821" y="1802"/>
                    </a:lnTo>
                    <a:lnTo>
                      <a:pt x="670" y="1893"/>
                    </a:lnTo>
                    <a:lnTo>
                      <a:pt x="0" y="720"/>
                    </a:lnTo>
                    <a:lnTo>
                      <a:pt x="124" y="641"/>
                    </a:lnTo>
                    <a:lnTo>
                      <a:pt x="243" y="554"/>
                    </a:lnTo>
                    <a:lnTo>
                      <a:pt x="354" y="459"/>
                    </a:lnTo>
                    <a:lnTo>
                      <a:pt x="457" y="356"/>
                    </a:lnTo>
                    <a:lnTo>
                      <a:pt x="551" y="243"/>
                    </a:lnTo>
                    <a:lnTo>
                      <a:pt x="639" y="124"/>
                    </a:lnTo>
                    <a:lnTo>
                      <a:pt x="716" y="0"/>
                    </a:lnTo>
                    <a:close/>
                  </a:path>
                </a:pathLst>
              </a:custGeom>
              <a:gradFill>
                <a:gsLst>
                  <a:gs pos="87000">
                    <a:schemeClr val="bg1">
                      <a:lumMod val="85000"/>
                    </a:schemeClr>
                  </a:gs>
                  <a:gs pos="24000">
                    <a:schemeClr val="bg1">
                      <a:lumMod val="95000"/>
                    </a:schemeClr>
                  </a:gs>
                </a:gsLst>
                <a:lin ang="0" scaled="1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" name="Freeform 73"/>
              <p:cNvSpPr>
                <a:spLocks/>
              </p:cNvSpPr>
              <p:nvPr/>
            </p:nvSpPr>
            <p:spPr bwMode="auto">
              <a:xfrm>
                <a:off x="6965949" y="3428477"/>
                <a:ext cx="835419" cy="839606"/>
              </a:xfrm>
              <a:custGeom>
                <a:avLst/>
                <a:gdLst>
                  <a:gd name="T0" fmla="*/ 247 w 1596"/>
                  <a:gd name="T1" fmla="*/ 0 h 1604"/>
                  <a:gd name="T2" fmla="*/ 1596 w 1596"/>
                  <a:gd name="T3" fmla="*/ 0 h 1604"/>
                  <a:gd name="T4" fmla="*/ 1592 w 1596"/>
                  <a:gd name="T5" fmla="*/ 194 h 1604"/>
                  <a:gd name="T6" fmla="*/ 1574 w 1596"/>
                  <a:gd name="T7" fmla="*/ 384 h 1604"/>
                  <a:gd name="T8" fmla="*/ 1547 w 1596"/>
                  <a:gd name="T9" fmla="*/ 570 h 1604"/>
                  <a:gd name="T10" fmla="*/ 1509 w 1596"/>
                  <a:gd name="T11" fmla="*/ 754 h 1604"/>
                  <a:gd name="T12" fmla="*/ 1462 w 1596"/>
                  <a:gd name="T13" fmla="*/ 932 h 1604"/>
                  <a:gd name="T14" fmla="*/ 1404 w 1596"/>
                  <a:gd name="T15" fmla="*/ 1108 h 1604"/>
                  <a:gd name="T16" fmla="*/ 1337 w 1596"/>
                  <a:gd name="T17" fmla="*/ 1278 h 1604"/>
                  <a:gd name="T18" fmla="*/ 1262 w 1596"/>
                  <a:gd name="T19" fmla="*/ 1444 h 1604"/>
                  <a:gd name="T20" fmla="*/ 1177 w 1596"/>
                  <a:gd name="T21" fmla="*/ 1604 h 1604"/>
                  <a:gd name="T22" fmla="*/ 0 w 1596"/>
                  <a:gd name="T23" fmla="*/ 940 h 1604"/>
                  <a:gd name="T24" fmla="*/ 63 w 1596"/>
                  <a:gd name="T25" fmla="*/ 819 h 1604"/>
                  <a:gd name="T26" fmla="*/ 116 w 1596"/>
                  <a:gd name="T27" fmla="*/ 692 h 1604"/>
                  <a:gd name="T28" fmla="*/ 162 w 1596"/>
                  <a:gd name="T29" fmla="*/ 562 h 1604"/>
                  <a:gd name="T30" fmla="*/ 199 w 1596"/>
                  <a:gd name="T31" fmla="*/ 425 h 1604"/>
                  <a:gd name="T32" fmla="*/ 225 w 1596"/>
                  <a:gd name="T33" fmla="*/ 287 h 1604"/>
                  <a:gd name="T34" fmla="*/ 241 w 1596"/>
                  <a:gd name="T35" fmla="*/ 146 h 1604"/>
                  <a:gd name="T36" fmla="*/ 247 w 1596"/>
                  <a:gd name="T37" fmla="*/ 0 h 1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96" h="1604">
                    <a:moveTo>
                      <a:pt x="247" y="0"/>
                    </a:moveTo>
                    <a:lnTo>
                      <a:pt x="1596" y="0"/>
                    </a:lnTo>
                    <a:lnTo>
                      <a:pt x="1592" y="194"/>
                    </a:lnTo>
                    <a:lnTo>
                      <a:pt x="1574" y="384"/>
                    </a:lnTo>
                    <a:lnTo>
                      <a:pt x="1547" y="570"/>
                    </a:lnTo>
                    <a:lnTo>
                      <a:pt x="1509" y="754"/>
                    </a:lnTo>
                    <a:lnTo>
                      <a:pt x="1462" y="932"/>
                    </a:lnTo>
                    <a:lnTo>
                      <a:pt x="1404" y="1108"/>
                    </a:lnTo>
                    <a:lnTo>
                      <a:pt x="1337" y="1278"/>
                    </a:lnTo>
                    <a:lnTo>
                      <a:pt x="1262" y="1444"/>
                    </a:lnTo>
                    <a:lnTo>
                      <a:pt x="1177" y="1604"/>
                    </a:lnTo>
                    <a:lnTo>
                      <a:pt x="0" y="940"/>
                    </a:lnTo>
                    <a:lnTo>
                      <a:pt x="63" y="819"/>
                    </a:lnTo>
                    <a:lnTo>
                      <a:pt x="116" y="692"/>
                    </a:lnTo>
                    <a:lnTo>
                      <a:pt x="162" y="562"/>
                    </a:lnTo>
                    <a:lnTo>
                      <a:pt x="199" y="425"/>
                    </a:lnTo>
                    <a:lnTo>
                      <a:pt x="225" y="287"/>
                    </a:lnTo>
                    <a:lnTo>
                      <a:pt x="241" y="146"/>
                    </a:lnTo>
                    <a:lnTo>
                      <a:pt x="247" y="0"/>
                    </a:lnTo>
                    <a:close/>
                  </a:path>
                </a:pathLst>
              </a:custGeom>
              <a:gradFill>
                <a:gsLst>
                  <a:gs pos="86000">
                    <a:schemeClr val="bg1">
                      <a:lumMod val="85000"/>
                    </a:schemeClr>
                  </a:gs>
                  <a:gs pos="17000">
                    <a:schemeClr val="bg1">
                      <a:lumMod val="95000"/>
                    </a:schemeClr>
                  </a:gs>
                </a:gsLst>
                <a:lin ang="16800000" scaled="0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5" name="Freeform 74"/>
              <p:cNvSpPr>
                <a:spLocks/>
              </p:cNvSpPr>
              <p:nvPr/>
            </p:nvSpPr>
            <p:spPr bwMode="auto">
              <a:xfrm>
                <a:off x="5235439" y="4293208"/>
                <a:ext cx="859497" cy="842747"/>
              </a:xfrm>
              <a:custGeom>
                <a:avLst/>
                <a:gdLst>
                  <a:gd name="T0" fmla="*/ 681 w 1642"/>
                  <a:gd name="T1" fmla="*/ 0 h 1610"/>
                  <a:gd name="T2" fmla="*/ 803 w 1642"/>
                  <a:gd name="T3" fmla="*/ 65 h 1610"/>
                  <a:gd name="T4" fmla="*/ 932 w 1642"/>
                  <a:gd name="T5" fmla="*/ 122 h 1610"/>
                  <a:gd name="T6" fmla="*/ 1066 w 1642"/>
                  <a:gd name="T7" fmla="*/ 172 h 1610"/>
                  <a:gd name="T8" fmla="*/ 1205 w 1642"/>
                  <a:gd name="T9" fmla="*/ 209 h 1610"/>
                  <a:gd name="T10" fmla="*/ 1347 w 1642"/>
                  <a:gd name="T11" fmla="*/ 237 h 1610"/>
                  <a:gd name="T12" fmla="*/ 1492 w 1642"/>
                  <a:gd name="T13" fmla="*/ 253 h 1610"/>
                  <a:gd name="T14" fmla="*/ 1642 w 1642"/>
                  <a:gd name="T15" fmla="*/ 259 h 1610"/>
                  <a:gd name="T16" fmla="*/ 1642 w 1642"/>
                  <a:gd name="T17" fmla="*/ 259 h 1610"/>
                  <a:gd name="T18" fmla="*/ 1642 w 1642"/>
                  <a:gd name="T19" fmla="*/ 1610 h 1610"/>
                  <a:gd name="T20" fmla="*/ 1642 w 1642"/>
                  <a:gd name="T21" fmla="*/ 1610 h 1610"/>
                  <a:gd name="T22" fmla="*/ 1444 w 1642"/>
                  <a:gd name="T23" fmla="*/ 1604 h 1610"/>
                  <a:gd name="T24" fmla="*/ 1248 w 1642"/>
                  <a:gd name="T25" fmla="*/ 1586 h 1610"/>
                  <a:gd name="T26" fmla="*/ 1056 w 1642"/>
                  <a:gd name="T27" fmla="*/ 1559 h 1610"/>
                  <a:gd name="T28" fmla="*/ 869 w 1642"/>
                  <a:gd name="T29" fmla="*/ 1517 h 1610"/>
                  <a:gd name="T30" fmla="*/ 687 w 1642"/>
                  <a:gd name="T31" fmla="*/ 1468 h 1610"/>
                  <a:gd name="T32" fmla="*/ 507 w 1642"/>
                  <a:gd name="T33" fmla="*/ 1406 h 1610"/>
                  <a:gd name="T34" fmla="*/ 332 w 1642"/>
                  <a:gd name="T35" fmla="*/ 1337 h 1610"/>
                  <a:gd name="T36" fmla="*/ 162 w 1642"/>
                  <a:gd name="T37" fmla="*/ 1256 h 1610"/>
                  <a:gd name="T38" fmla="*/ 0 w 1642"/>
                  <a:gd name="T39" fmla="*/ 1167 h 1610"/>
                  <a:gd name="T40" fmla="*/ 681 w 1642"/>
                  <a:gd name="T41" fmla="*/ 0 h 1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42" h="1610">
                    <a:moveTo>
                      <a:pt x="681" y="0"/>
                    </a:moveTo>
                    <a:lnTo>
                      <a:pt x="803" y="65"/>
                    </a:lnTo>
                    <a:lnTo>
                      <a:pt x="932" y="122"/>
                    </a:lnTo>
                    <a:lnTo>
                      <a:pt x="1066" y="172"/>
                    </a:lnTo>
                    <a:lnTo>
                      <a:pt x="1205" y="209"/>
                    </a:lnTo>
                    <a:lnTo>
                      <a:pt x="1347" y="237"/>
                    </a:lnTo>
                    <a:lnTo>
                      <a:pt x="1492" y="253"/>
                    </a:lnTo>
                    <a:lnTo>
                      <a:pt x="1642" y="259"/>
                    </a:lnTo>
                    <a:lnTo>
                      <a:pt x="1642" y="259"/>
                    </a:lnTo>
                    <a:lnTo>
                      <a:pt x="1642" y="1610"/>
                    </a:lnTo>
                    <a:lnTo>
                      <a:pt x="1642" y="1610"/>
                    </a:lnTo>
                    <a:lnTo>
                      <a:pt x="1444" y="1604"/>
                    </a:lnTo>
                    <a:lnTo>
                      <a:pt x="1248" y="1586"/>
                    </a:lnTo>
                    <a:lnTo>
                      <a:pt x="1056" y="1559"/>
                    </a:lnTo>
                    <a:lnTo>
                      <a:pt x="869" y="1517"/>
                    </a:lnTo>
                    <a:lnTo>
                      <a:pt x="687" y="1468"/>
                    </a:lnTo>
                    <a:lnTo>
                      <a:pt x="507" y="1406"/>
                    </a:lnTo>
                    <a:lnTo>
                      <a:pt x="332" y="1337"/>
                    </a:lnTo>
                    <a:lnTo>
                      <a:pt x="162" y="1256"/>
                    </a:lnTo>
                    <a:lnTo>
                      <a:pt x="0" y="1167"/>
                    </a:lnTo>
                    <a:lnTo>
                      <a:pt x="681" y="0"/>
                    </a:lnTo>
                    <a:close/>
                  </a:path>
                </a:pathLst>
              </a:custGeom>
              <a:gradFill>
                <a:gsLst>
                  <a:gs pos="87000">
                    <a:schemeClr val="bg1">
                      <a:lumMod val="85000"/>
                    </a:schemeClr>
                  </a:gs>
                  <a:gs pos="24000">
                    <a:schemeClr val="bg1">
                      <a:lumMod val="95000"/>
                    </a:schemeClr>
                  </a:gs>
                </a:gsLst>
                <a:lin ang="0" scaled="1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6" name="Freeform 75"/>
              <p:cNvSpPr>
                <a:spLocks/>
              </p:cNvSpPr>
              <p:nvPr/>
            </p:nvSpPr>
            <p:spPr bwMode="auto">
              <a:xfrm>
                <a:off x="6094937" y="4297396"/>
                <a:ext cx="846935" cy="838559"/>
              </a:xfrm>
              <a:custGeom>
                <a:avLst/>
                <a:gdLst>
                  <a:gd name="T0" fmla="*/ 948 w 1618"/>
                  <a:gd name="T1" fmla="*/ 0 h 1602"/>
                  <a:gd name="T2" fmla="*/ 1618 w 1618"/>
                  <a:gd name="T3" fmla="*/ 1173 h 1602"/>
                  <a:gd name="T4" fmla="*/ 1456 w 1618"/>
                  <a:gd name="T5" fmla="*/ 1260 h 1602"/>
                  <a:gd name="T6" fmla="*/ 1290 w 1618"/>
                  <a:gd name="T7" fmla="*/ 1337 h 1602"/>
                  <a:gd name="T8" fmla="*/ 1118 w 1618"/>
                  <a:gd name="T9" fmla="*/ 1406 h 1602"/>
                  <a:gd name="T10" fmla="*/ 942 w 1618"/>
                  <a:gd name="T11" fmla="*/ 1464 h 1602"/>
                  <a:gd name="T12" fmla="*/ 760 w 1618"/>
                  <a:gd name="T13" fmla="*/ 1513 h 1602"/>
                  <a:gd name="T14" fmla="*/ 576 w 1618"/>
                  <a:gd name="T15" fmla="*/ 1551 h 1602"/>
                  <a:gd name="T16" fmla="*/ 386 w 1618"/>
                  <a:gd name="T17" fmla="*/ 1580 h 1602"/>
                  <a:gd name="T18" fmla="*/ 194 w 1618"/>
                  <a:gd name="T19" fmla="*/ 1596 h 1602"/>
                  <a:gd name="T20" fmla="*/ 0 w 1618"/>
                  <a:gd name="T21" fmla="*/ 1602 h 1602"/>
                  <a:gd name="T22" fmla="*/ 0 w 1618"/>
                  <a:gd name="T23" fmla="*/ 251 h 1602"/>
                  <a:gd name="T24" fmla="*/ 146 w 1618"/>
                  <a:gd name="T25" fmla="*/ 245 h 1602"/>
                  <a:gd name="T26" fmla="*/ 289 w 1618"/>
                  <a:gd name="T27" fmla="*/ 229 h 1602"/>
                  <a:gd name="T28" fmla="*/ 429 w 1618"/>
                  <a:gd name="T29" fmla="*/ 203 h 1602"/>
                  <a:gd name="T30" fmla="*/ 566 w 1618"/>
                  <a:gd name="T31" fmla="*/ 166 h 1602"/>
                  <a:gd name="T32" fmla="*/ 698 w 1618"/>
                  <a:gd name="T33" fmla="*/ 120 h 1602"/>
                  <a:gd name="T34" fmla="*/ 825 w 1618"/>
                  <a:gd name="T35" fmla="*/ 63 h 1602"/>
                  <a:gd name="T36" fmla="*/ 948 w 1618"/>
                  <a:gd name="T37" fmla="*/ 0 h 16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618" h="1602">
                    <a:moveTo>
                      <a:pt x="948" y="0"/>
                    </a:moveTo>
                    <a:lnTo>
                      <a:pt x="1618" y="1173"/>
                    </a:lnTo>
                    <a:lnTo>
                      <a:pt x="1456" y="1260"/>
                    </a:lnTo>
                    <a:lnTo>
                      <a:pt x="1290" y="1337"/>
                    </a:lnTo>
                    <a:lnTo>
                      <a:pt x="1118" y="1406"/>
                    </a:lnTo>
                    <a:lnTo>
                      <a:pt x="942" y="1464"/>
                    </a:lnTo>
                    <a:lnTo>
                      <a:pt x="760" y="1513"/>
                    </a:lnTo>
                    <a:lnTo>
                      <a:pt x="576" y="1551"/>
                    </a:lnTo>
                    <a:lnTo>
                      <a:pt x="386" y="1580"/>
                    </a:lnTo>
                    <a:lnTo>
                      <a:pt x="194" y="1596"/>
                    </a:lnTo>
                    <a:lnTo>
                      <a:pt x="0" y="1602"/>
                    </a:lnTo>
                    <a:lnTo>
                      <a:pt x="0" y="251"/>
                    </a:lnTo>
                    <a:lnTo>
                      <a:pt x="146" y="245"/>
                    </a:lnTo>
                    <a:lnTo>
                      <a:pt x="289" y="229"/>
                    </a:lnTo>
                    <a:lnTo>
                      <a:pt x="429" y="203"/>
                    </a:lnTo>
                    <a:lnTo>
                      <a:pt x="566" y="166"/>
                    </a:lnTo>
                    <a:lnTo>
                      <a:pt x="698" y="120"/>
                    </a:lnTo>
                    <a:lnTo>
                      <a:pt x="825" y="63"/>
                    </a:lnTo>
                    <a:lnTo>
                      <a:pt x="948" y="0"/>
                    </a:lnTo>
                    <a:close/>
                  </a:path>
                </a:pathLst>
              </a:custGeom>
              <a:gradFill>
                <a:gsLst>
                  <a:gs pos="87000">
                    <a:schemeClr val="bg1">
                      <a:lumMod val="85000"/>
                    </a:schemeClr>
                  </a:gs>
                  <a:gs pos="24000">
                    <a:schemeClr val="bg1">
                      <a:lumMod val="95000"/>
                    </a:schemeClr>
                  </a:gs>
                </a:gsLst>
                <a:lin ang="0" scaled="1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119" name="Freeform 63"/>
            <p:cNvSpPr>
              <a:spLocks noEditPoints="1"/>
            </p:cNvSpPr>
            <p:nvPr/>
          </p:nvSpPr>
          <p:spPr bwMode="auto">
            <a:xfrm>
              <a:off x="4599864" y="2959952"/>
              <a:ext cx="352651" cy="280206"/>
            </a:xfrm>
            <a:custGeom>
              <a:avLst/>
              <a:gdLst>
                <a:gd name="T0" fmla="*/ 3526 w 3526"/>
                <a:gd name="T1" fmla="*/ 2803 h 2803"/>
                <a:gd name="T2" fmla="*/ 0 w 3526"/>
                <a:gd name="T3" fmla="*/ 1227 h 2803"/>
                <a:gd name="T4" fmla="*/ 69 w 3526"/>
                <a:gd name="T5" fmla="*/ 1291 h 2803"/>
                <a:gd name="T6" fmla="*/ 150 w 3526"/>
                <a:gd name="T7" fmla="*/ 1340 h 2803"/>
                <a:gd name="T8" fmla="*/ 241 w 3526"/>
                <a:gd name="T9" fmla="*/ 1372 h 2803"/>
                <a:gd name="T10" fmla="*/ 341 w 3526"/>
                <a:gd name="T11" fmla="*/ 1382 h 2803"/>
                <a:gd name="T12" fmla="*/ 513 w 3526"/>
                <a:gd name="T13" fmla="*/ 1663 h 2803"/>
                <a:gd name="T14" fmla="*/ 921 w 3526"/>
                <a:gd name="T15" fmla="*/ 1382 h 2803"/>
                <a:gd name="T16" fmla="*/ 2494 w 3526"/>
                <a:gd name="T17" fmla="*/ 1663 h 2803"/>
                <a:gd name="T18" fmla="*/ 2900 w 3526"/>
                <a:gd name="T19" fmla="*/ 1382 h 2803"/>
                <a:gd name="T20" fmla="*/ 3223 w 3526"/>
                <a:gd name="T21" fmla="*/ 1379 h 2803"/>
                <a:gd name="T22" fmla="*/ 3323 w 3526"/>
                <a:gd name="T23" fmla="*/ 1355 h 2803"/>
                <a:gd name="T24" fmla="*/ 3414 w 3526"/>
                <a:gd name="T25" fmla="*/ 1309 h 2803"/>
                <a:gd name="T26" fmla="*/ 3492 w 3526"/>
                <a:gd name="T27" fmla="*/ 1245 h 2803"/>
                <a:gd name="T28" fmla="*/ 1317 w 3526"/>
                <a:gd name="T29" fmla="*/ 133 h 2803"/>
                <a:gd name="T30" fmla="*/ 2217 w 3526"/>
                <a:gd name="T31" fmla="*/ 350 h 2803"/>
                <a:gd name="T32" fmla="*/ 1317 w 3526"/>
                <a:gd name="T33" fmla="*/ 133 h 2803"/>
                <a:gd name="T34" fmla="*/ 2284 w 3526"/>
                <a:gd name="T35" fmla="*/ 0 h 2803"/>
                <a:gd name="T36" fmla="*/ 2317 w 3526"/>
                <a:gd name="T37" fmla="*/ 9 h 2803"/>
                <a:gd name="T38" fmla="*/ 2341 w 3526"/>
                <a:gd name="T39" fmla="*/ 32 h 2803"/>
                <a:gd name="T40" fmla="*/ 2350 w 3526"/>
                <a:gd name="T41" fmla="*/ 67 h 2803"/>
                <a:gd name="T42" fmla="*/ 3526 w 3526"/>
                <a:gd name="T43" fmla="*/ 350 h 2803"/>
                <a:gd name="T44" fmla="*/ 3514 w 3526"/>
                <a:gd name="T45" fmla="*/ 1041 h 2803"/>
                <a:gd name="T46" fmla="*/ 3476 w 3526"/>
                <a:gd name="T47" fmla="*/ 1123 h 2803"/>
                <a:gd name="T48" fmla="*/ 3420 w 3526"/>
                <a:gd name="T49" fmla="*/ 1193 h 2803"/>
                <a:gd name="T50" fmla="*/ 3347 w 3526"/>
                <a:gd name="T51" fmla="*/ 1246 h 2803"/>
                <a:gd name="T52" fmla="*/ 3263 w 3526"/>
                <a:gd name="T53" fmla="*/ 1281 h 2803"/>
                <a:gd name="T54" fmla="*/ 3169 w 3526"/>
                <a:gd name="T55" fmla="*/ 1293 h 2803"/>
                <a:gd name="T56" fmla="*/ 2900 w 3526"/>
                <a:gd name="T57" fmla="*/ 1184 h 2803"/>
                <a:gd name="T58" fmla="*/ 2494 w 3526"/>
                <a:gd name="T59" fmla="*/ 1293 h 2803"/>
                <a:gd name="T60" fmla="*/ 921 w 3526"/>
                <a:gd name="T61" fmla="*/ 1184 h 2803"/>
                <a:gd name="T62" fmla="*/ 513 w 3526"/>
                <a:gd name="T63" fmla="*/ 1293 h 2803"/>
                <a:gd name="T64" fmla="*/ 294 w 3526"/>
                <a:gd name="T65" fmla="*/ 1291 h 2803"/>
                <a:gd name="T66" fmla="*/ 208 w 3526"/>
                <a:gd name="T67" fmla="*/ 1268 h 2803"/>
                <a:gd name="T68" fmla="*/ 131 w 3526"/>
                <a:gd name="T69" fmla="*/ 1226 h 2803"/>
                <a:gd name="T70" fmla="*/ 66 w 3526"/>
                <a:gd name="T71" fmla="*/ 1167 h 2803"/>
                <a:gd name="T72" fmla="*/ 17 w 3526"/>
                <a:gd name="T73" fmla="*/ 1094 h 2803"/>
                <a:gd name="T74" fmla="*/ 0 w 3526"/>
                <a:gd name="T75" fmla="*/ 350 h 2803"/>
                <a:gd name="T76" fmla="*/ 1182 w 3526"/>
                <a:gd name="T77" fmla="*/ 67 h 2803"/>
                <a:gd name="T78" fmla="*/ 1192 w 3526"/>
                <a:gd name="T79" fmla="*/ 32 h 2803"/>
                <a:gd name="T80" fmla="*/ 1216 w 3526"/>
                <a:gd name="T81" fmla="*/ 9 h 2803"/>
                <a:gd name="T82" fmla="*/ 1250 w 3526"/>
                <a:gd name="T83" fmla="*/ 0 h 28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526" h="2803">
                  <a:moveTo>
                    <a:pt x="3526" y="1207"/>
                  </a:moveTo>
                  <a:lnTo>
                    <a:pt x="3526" y="2803"/>
                  </a:lnTo>
                  <a:lnTo>
                    <a:pt x="0" y="2803"/>
                  </a:lnTo>
                  <a:lnTo>
                    <a:pt x="0" y="1227"/>
                  </a:lnTo>
                  <a:lnTo>
                    <a:pt x="32" y="1260"/>
                  </a:lnTo>
                  <a:lnTo>
                    <a:pt x="69" y="1291"/>
                  </a:lnTo>
                  <a:lnTo>
                    <a:pt x="108" y="1318"/>
                  </a:lnTo>
                  <a:lnTo>
                    <a:pt x="150" y="1340"/>
                  </a:lnTo>
                  <a:lnTo>
                    <a:pt x="195" y="1359"/>
                  </a:lnTo>
                  <a:lnTo>
                    <a:pt x="241" y="1372"/>
                  </a:lnTo>
                  <a:lnTo>
                    <a:pt x="290" y="1379"/>
                  </a:lnTo>
                  <a:lnTo>
                    <a:pt x="341" y="1382"/>
                  </a:lnTo>
                  <a:lnTo>
                    <a:pt x="513" y="1382"/>
                  </a:lnTo>
                  <a:lnTo>
                    <a:pt x="513" y="1663"/>
                  </a:lnTo>
                  <a:lnTo>
                    <a:pt x="921" y="1663"/>
                  </a:lnTo>
                  <a:lnTo>
                    <a:pt x="921" y="1382"/>
                  </a:lnTo>
                  <a:lnTo>
                    <a:pt x="2494" y="1382"/>
                  </a:lnTo>
                  <a:lnTo>
                    <a:pt x="2494" y="1663"/>
                  </a:lnTo>
                  <a:lnTo>
                    <a:pt x="2900" y="1663"/>
                  </a:lnTo>
                  <a:lnTo>
                    <a:pt x="2900" y="1382"/>
                  </a:lnTo>
                  <a:lnTo>
                    <a:pt x="3169" y="1382"/>
                  </a:lnTo>
                  <a:lnTo>
                    <a:pt x="3223" y="1379"/>
                  </a:lnTo>
                  <a:lnTo>
                    <a:pt x="3275" y="1371"/>
                  </a:lnTo>
                  <a:lnTo>
                    <a:pt x="3323" y="1355"/>
                  </a:lnTo>
                  <a:lnTo>
                    <a:pt x="3371" y="1335"/>
                  </a:lnTo>
                  <a:lnTo>
                    <a:pt x="3414" y="1309"/>
                  </a:lnTo>
                  <a:lnTo>
                    <a:pt x="3455" y="1280"/>
                  </a:lnTo>
                  <a:lnTo>
                    <a:pt x="3492" y="1245"/>
                  </a:lnTo>
                  <a:lnTo>
                    <a:pt x="3526" y="1207"/>
                  </a:lnTo>
                  <a:close/>
                  <a:moveTo>
                    <a:pt x="1317" y="133"/>
                  </a:moveTo>
                  <a:lnTo>
                    <a:pt x="1317" y="350"/>
                  </a:lnTo>
                  <a:lnTo>
                    <a:pt x="2217" y="350"/>
                  </a:lnTo>
                  <a:lnTo>
                    <a:pt x="2217" y="133"/>
                  </a:lnTo>
                  <a:lnTo>
                    <a:pt x="1317" y="133"/>
                  </a:lnTo>
                  <a:close/>
                  <a:moveTo>
                    <a:pt x="1250" y="0"/>
                  </a:moveTo>
                  <a:lnTo>
                    <a:pt x="2284" y="0"/>
                  </a:lnTo>
                  <a:lnTo>
                    <a:pt x="2301" y="2"/>
                  </a:lnTo>
                  <a:lnTo>
                    <a:pt x="2317" y="9"/>
                  </a:lnTo>
                  <a:lnTo>
                    <a:pt x="2330" y="19"/>
                  </a:lnTo>
                  <a:lnTo>
                    <a:pt x="2341" y="32"/>
                  </a:lnTo>
                  <a:lnTo>
                    <a:pt x="2348" y="49"/>
                  </a:lnTo>
                  <a:lnTo>
                    <a:pt x="2350" y="67"/>
                  </a:lnTo>
                  <a:lnTo>
                    <a:pt x="2350" y="350"/>
                  </a:lnTo>
                  <a:lnTo>
                    <a:pt x="3526" y="350"/>
                  </a:lnTo>
                  <a:lnTo>
                    <a:pt x="3526" y="995"/>
                  </a:lnTo>
                  <a:lnTo>
                    <a:pt x="3514" y="1041"/>
                  </a:lnTo>
                  <a:lnTo>
                    <a:pt x="3498" y="1083"/>
                  </a:lnTo>
                  <a:lnTo>
                    <a:pt x="3476" y="1123"/>
                  </a:lnTo>
                  <a:lnTo>
                    <a:pt x="3450" y="1160"/>
                  </a:lnTo>
                  <a:lnTo>
                    <a:pt x="3420" y="1193"/>
                  </a:lnTo>
                  <a:lnTo>
                    <a:pt x="3385" y="1221"/>
                  </a:lnTo>
                  <a:lnTo>
                    <a:pt x="3347" y="1246"/>
                  </a:lnTo>
                  <a:lnTo>
                    <a:pt x="3306" y="1267"/>
                  </a:lnTo>
                  <a:lnTo>
                    <a:pt x="3263" y="1281"/>
                  </a:lnTo>
                  <a:lnTo>
                    <a:pt x="3216" y="1291"/>
                  </a:lnTo>
                  <a:lnTo>
                    <a:pt x="3169" y="1293"/>
                  </a:lnTo>
                  <a:lnTo>
                    <a:pt x="2900" y="1293"/>
                  </a:lnTo>
                  <a:lnTo>
                    <a:pt x="2900" y="1184"/>
                  </a:lnTo>
                  <a:lnTo>
                    <a:pt x="2494" y="1184"/>
                  </a:lnTo>
                  <a:lnTo>
                    <a:pt x="2494" y="1293"/>
                  </a:lnTo>
                  <a:lnTo>
                    <a:pt x="921" y="1293"/>
                  </a:lnTo>
                  <a:lnTo>
                    <a:pt x="921" y="1184"/>
                  </a:lnTo>
                  <a:lnTo>
                    <a:pt x="513" y="1184"/>
                  </a:lnTo>
                  <a:lnTo>
                    <a:pt x="513" y="1293"/>
                  </a:lnTo>
                  <a:lnTo>
                    <a:pt x="341" y="1293"/>
                  </a:lnTo>
                  <a:lnTo>
                    <a:pt x="294" y="1291"/>
                  </a:lnTo>
                  <a:lnTo>
                    <a:pt x="250" y="1282"/>
                  </a:lnTo>
                  <a:lnTo>
                    <a:pt x="208" y="1268"/>
                  </a:lnTo>
                  <a:lnTo>
                    <a:pt x="168" y="1249"/>
                  </a:lnTo>
                  <a:lnTo>
                    <a:pt x="131" y="1226"/>
                  </a:lnTo>
                  <a:lnTo>
                    <a:pt x="96" y="1198"/>
                  </a:lnTo>
                  <a:lnTo>
                    <a:pt x="66" y="1167"/>
                  </a:lnTo>
                  <a:lnTo>
                    <a:pt x="40" y="1132"/>
                  </a:lnTo>
                  <a:lnTo>
                    <a:pt x="17" y="1094"/>
                  </a:lnTo>
                  <a:lnTo>
                    <a:pt x="0" y="1054"/>
                  </a:lnTo>
                  <a:lnTo>
                    <a:pt x="0" y="350"/>
                  </a:lnTo>
                  <a:lnTo>
                    <a:pt x="1182" y="350"/>
                  </a:lnTo>
                  <a:lnTo>
                    <a:pt x="1182" y="67"/>
                  </a:lnTo>
                  <a:lnTo>
                    <a:pt x="1185" y="49"/>
                  </a:lnTo>
                  <a:lnTo>
                    <a:pt x="1192" y="32"/>
                  </a:lnTo>
                  <a:lnTo>
                    <a:pt x="1202" y="19"/>
                  </a:lnTo>
                  <a:lnTo>
                    <a:pt x="1216" y="9"/>
                  </a:lnTo>
                  <a:lnTo>
                    <a:pt x="1232" y="2"/>
                  </a:lnTo>
                  <a:lnTo>
                    <a:pt x="1250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82" name="TextBox 181"/>
          <p:cNvSpPr txBox="1"/>
          <p:nvPr/>
        </p:nvSpPr>
        <p:spPr>
          <a:xfrm>
            <a:off x="6129867" y="204676"/>
            <a:ext cx="150283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Agreements</a:t>
            </a:r>
          </a:p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raft your business agreements across a variety of area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3" name="TextBox 182"/>
          <p:cNvSpPr txBox="1"/>
          <p:nvPr/>
        </p:nvSpPr>
        <p:spPr>
          <a:xfrm>
            <a:off x="5952071" y="5769804"/>
            <a:ext cx="1790700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Research </a:t>
            </a:r>
          </a:p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Research tools for sales and marketing engagement 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95593B7-A4B8-69EB-2850-670375FC25FD}"/>
              </a:ext>
            </a:extLst>
          </p:cNvPr>
          <p:cNvGrpSpPr/>
          <p:nvPr/>
        </p:nvGrpSpPr>
        <p:grpSpPr>
          <a:xfrm>
            <a:off x="6327232" y="1649485"/>
            <a:ext cx="405418" cy="446818"/>
            <a:chOff x="-1206500" y="2587625"/>
            <a:chExt cx="1133475" cy="1247776"/>
          </a:xfrm>
        </p:grpSpPr>
        <p:sp>
          <p:nvSpPr>
            <p:cNvPr id="4" name="Freeform 68">
              <a:extLst>
                <a:ext uri="{FF2B5EF4-FFF2-40B4-BE49-F238E27FC236}">
                  <a16:creationId xmlns:a16="http://schemas.microsoft.com/office/drawing/2014/main" id="{F7F5750A-8ABE-4386-BD71-BDCC31B20F49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74738" y="2587625"/>
              <a:ext cx="268288" cy="268288"/>
            </a:xfrm>
            <a:custGeom>
              <a:avLst/>
              <a:gdLst>
                <a:gd name="T0" fmla="*/ 423 w 847"/>
                <a:gd name="T1" fmla="*/ 0 h 845"/>
                <a:gd name="T2" fmla="*/ 423 w 847"/>
                <a:gd name="T3" fmla="*/ 0 h 845"/>
                <a:gd name="T4" fmla="*/ 476 w 847"/>
                <a:gd name="T5" fmla="*/ 3 h 845"/>
                <a:gd name="T6" fmla="*/ 527 w 847"/>
                <a:gd name="T7" fmla="*/ 13 h 845"/>
                <a:gd name="T8" fmla="*/ 577 w 847"/>
                <a:gd name="T9" fmla="*/ 29 h 845"/>
                <a:gd name="T10" fmla="*/ 623 w 847"/>
                <a:gd name="T11" fmla="*/ 49 h 845"/>
                <a:gd name="T12" fmla="*/ 665 w 847"/>
                <a:gd name="T13" fmla="*/ 76 h 845"/>
                <a:gd name="T14" fmla="*/ 705 w 847"/>
                <a:gd name="T15" fmla="*/ 106 h 845"/>
                <a:gd name="T16" fmla="*/ 740 w 847"/>
                <a:gd name="T17" fmla="*/ 142 h 845"/>
                <a:gd name="T18" fmla="*/ 770 w 847"/>
                <a:gd name="T19" fmla="*/ 181 h 845"/>
                <a:gd name="T20" fmla="*/ 797 w 847"/>
                <a:gd name="T21" fmla="*/ 223 h 845"/>
                <a:gd name="T22" fmla="*/ 819 w 847"/>
                <a:gd name="T23" fmla="*/ 269 h 845"/>
                <a:gd name="T24" fmla="*/ 833 w 847"/>
                <a:gd name="T25" fmla="*/ 319 h 845"/>
                <a:gd name="T26" fmla="*/ 843 w 847"/>
                <a:gd name="T27" fmla="*/ 370 h 845"/>
                <a:gd name="T28" fmla="*/ 847 w 847"/>
                <a:gd name="T29" fmla="*/ 423 h 845"/>
                <a:gd name="T30" fmla="*/ 843 w 847"/>
                <a:gd name="T31" fmla="*/ 476 h 845"/>
                <a:gd name="T32" fmla="*/ 833 w 847"/>
                <a:gd name="T33" fmla="*/ 527 h 845"/>
                <a:gd name="T34" fmla="*/ 819 w 847"/>
                <a:gd name="T35" fmla="*/ 575 h 845"/>
                <a:gd name="T36" fmla="*/ 797 w 847"/>
                <a:gd name="T37" fmla="*/ 621 h 845"/>
                <a:gd name="T38" fmla="*/ 770 w 847"/>
                <a:gd name="T39" fmla="*/ 665 h 845"/>
                <a:gd name="T40" fmla="*/ 740 w 847"/>
                <a:gd name="T41" fmla="*/ 703 h 845"/>
                <a:gd name="T42" fmla="*/ 705 w 847"/>
                <a:gd name="T43" fmla="*/ 739 h 845"/>
                <a:gd name="T44" fmla="*/ 665 w 847"/>
                <a:gd name="T45" fmla="*/ 770 h 845"/>
                <a:gd name="T46" fmla="*/ 623 w 847"/>
                <a:gd name="T47" fmla="*/ 797 h 845"/>
                <a:gd name="T48" fmla="*/ 577 w 847"/>
                <a:gd name="T49" fmla="*/ 817 h 845"/>
                <a:gd name="T50" fmla="*/ 527 w 847"/>
                <a:gd name="T51" fmla="*/ 833 h 845"/>
                <a:gd name="T52" fmla="*/ 476 w 847"/>
                <a:gd name="T53" fmla="*/ 843 h 845"/>
                <a:gd name="T54" fmla="*/ 423 w 847"/>
                <a:gd name="T55" fmla="*/ 845 h 845"/>
                <a:gd name="T56" fmla="*/ 369 w 847"/>
                <a:gd name="T57" fmla="*/ 843 h 845"/>
                <a:gd name="T58" fmla="*/ 318 w 847"/>
                <a:gd name="T59" fmla="*/ 833 h 845"/>
                <a:gd name="T60" fmla="*/ 270 w 847"/>
                <a:gd name="T61" fmla="*/ 817 h 845"/>
                <a:gd name="T62" fmla="*/ 224 w 847"/>
                <a:gd name="T63" fmla="*/ 797 h 845"/>
                <a:gd name="T64" fmla="*/ 181 w 847"/>
                <a:gd name="T65" fmla="*/ 770 h 845"/>
                <a:gd name="T66" fmla="*/ 141 w 847"/>
                <a:gd name="T67" fmla="*/ 739 h 845"/>
                <a:gd name="T68" fmla="*/ 106 w 847"/>
                <a:gd name="T69" fmla="*/ 703 h 845"/>
                <a:gd name="T70" fmla="*/ 75 w 847"/>
                <a:gd name="T71" fmla="*/ 665 h 845"/>
                <a:gd name="T72" fmla="*/ 49 w 847"/>
                <a:gd name="T73" fmla="*/ 621 h 845"/>
                <a:gd name="T74" fmla="*/ 27 w 847"/>
                <a:gd name="T75" fmla="*/ 575 h 845"/>
                <a:gd name="T76" fmla="*/ 12 w 847"/>
                <a:gd name="T77" fmla="*/ 527 h 845"/>
                <a:gd name="T78" fmla="*/ 2 w 847"/>
                <a:gd name="T79" fmla="*/ 476 h 845"/>
                <a:gd name="T80" fmla="*/ 0 w 847"/>
                <a:gd name="T81" fmla="*/ 423 h 845"/>
                <a:gd name="T82" fmla="*/ 2 w 847"/>
                <a:gd name="T83" fmla="*/ 370 h 845"/>
                <a:gd name="T84" fmla="*/ 12 w 847"/>
                <a:gd name="T85" fmla="*/ 319 h 845"/>
                <a:gd name="T86" fmla="*/ 27 w 847"/>
                <a:gd name="T87" fmla="*/ 269 h 845"/>
                <a:gd name="T88" fmla="*/ 49 w 847"/>
                <a:gd name="T89" fmla="*/ 223 h 845"/>
                <a:gd name="T90" fmla="*/ 75 w 847"/>
                <a:gd name="T91" fmla="*/ 181 h 845"/>
                <a:gd name="T92" fmla="*/ 106 w 847"/>
                <a:gd name="T93" fmla="*/ 142 h 845"/>
                <a:gd name="T94" fmla="*/ 141 w 847"/>
                <a:gd name="T95" fmla="*/ 106 h 845"/>
                <a:gd name="T96" fmla="*/ 181 w 847"/>
                <a:gd name="T97" fmla="*/ 76 h 845"/>
                <a:gd name="T98" fmla="*/ 224 w 847"/>
                <a:gd name="T99" fmla="*/ 49 h 845"/>
                <a:gd name="T100" fmla="*/ 270 w 847"/>
                <a:gd name="T101" fmla="*/ 29 h 845"/>
                <a:gd name="T102" fmla="*/ 318 w 847"/>
                <a:gd name="T103" fmla="*/ 13 h 845"/>
                <a:gd name="T104" fmla="*/ 369 w 847"/>
                <a:gd name="T105" fmla="*/ 3 h 845"/>
                <a:gd name="T106" fmla="*/ 423 w 847"/>
                <a:gd name="T107" fmla="*/ 0 h 8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47" h="845">
                  <a:moveTo>
                    <a:pt x="423" y="0"/>
                  </a:moveTo>
                  <a:lnTo>
                    <a:pt x="423" y="0"/>
                  </a:lnTo>
                  <a:lnTo>
                    <a:pt x="476" y="3"/>
                  </a:lnTo>
                  <a:lnTo>
                    <a:pt x="527" y="13"/>
                  </a:lnTo>
                  <a:lnTo>
                    <a:pt x="577" y="29"/>
                  </a:lnTo>
                  <a:lnTo>
                    <a:pt x="623" y="49"/>
                  </a:lnTo>
                  <a:lnTo>
                    <a:pt x="665" y="76"/>
                  </a:lnTo>
                  <a:lnTo>
                    <a:pt x="705" y="106"/>
                  </a:lnTo>
                  <a:lnTo>
                    <a:pt x="740" y="142"/>
                  </a:lnTo>
                  <a:lnTo>
                    <a:pt x="770" y="181"/>
                  </a:lnTo>
                  <a:lnTo>
                    <a:pt x="797" y="223"/>
                  </a:lnTo>
                  <a:lnTo>
                    <a:pt x="819" y="269"/>
                  </a:lnTo>
                  <a:lnTo>
                    <a:pt x="833" y="319"/>
                  </a:lnTo>
                  <a:lnTo>
                    <a:pt x="843" y="370"/>
                  </a:lnTo>
                  <a:lnTo>
                    <a:pt x="847" y="423"/>
                  </a:lnTo>
                  <a:lnTo>
                    <a:pt x="843" y="476"/>
                  </a:lnTo>
                  <a:lnTo>
                    <a:pt x="833" y="527"/>
                  </a:lnTo>
                  <a:lnTo>
                    <a:pt x="819" y="575"/>
                  </a:lnTo>
                  <a:lnTo>
                    <a:pt x="797" y="621"/>
                  </a:lnTo>
                  <a:lnTo>
                    <a:pt x="770" y="665"/>
                  </a:lnTo>
                  <a:lnTo>
                    <a:pt x="740" y="703"/>
                  </a:lnTo>
                  <a:lnTo>
                    <a:pt x="705" y="739"/>
                  </a:lnTo>
                  <a:lnTo>
                    <a:pt x="665" y="770"/>
                  </a:lnTo>
                  <a:lnTo>
                    <a:pt x="623" y="797"/>
                  </a:lnTo>
                  <a:lnTo>
                    <a:pt x="577" y="817"/>
                  </a:lnTo>
                  <a:lnTo>
                    <a:pt x="527" y="833"/>
                  </a:lnTo>
                  <a:lnTo>
                    <a:pt x="476" y="843"/>
                  </a:lnTo>
                  <a:lnTo>
                    <a:pt x="423" y="845"/>
                  </a:lnTo>
                  <a:lnTo>
                    <a:pt x="369" y="843"/>
                  </a:lnTo>
                  <a:lnTo>
                    <a:pt x="318" y="833"/>
                  </a:lnTo>
                  <a:lnTo>
                    <a:pt x="270" y="817"/>
                  </a:lnTo>
                  <a:lnTo>
                    <a:pt x="224" y="797"/>
                  </a:lnTo>
                  <a:lnTo>
                    <a:pt x="181" y="770"/>
                  </a:lnTo>
                  <a:lnTo>
                    <a:pt x="141" y="739"/>
                  </a:lnTo>
                  <a:lnTo>
                    <a:pt x="106" y="703"/>
                  </a:lnTo>
                  <a:lnTo>
                    <a:pt x="75" y="665"/>
                  </a:lnTo>
                  <a:lnTo>
                    <a:pt x="49" y="621"/>
                  </a:lnTo>
                  <a:lnTo>
                    <a:pt x="27" y="575"/>
                  </a:lnTo>
                  <a:lnTo>
                    <a:pt x="12" y="527"/>
                  </a:lnTo>
                  <a:lnTo>
                    <a:pt x="2" y="476"/>
                  </a:lnTo>
                  <a:lnTo>
                    <a:pt x="0" y="423"/>
                  </a:lnTo>
                  <a:lnTo>
                    <a:pt x="2" y="370"/>
                  </a:lnTo>
                  <a:lnTo>
                    <a:pt x="12" y="319"/>
                  </a:lnTo>
                  <a:lnTo>
                    <a:pt x="27" y="269"/>
                  </a:lnTo>
                  <a:lnTo>
                    <a:pt x="49" y="223"/>
                  </a:lnTo>
                  <a:lnTo>
                    <a:pt x="75" y="181"/>
                  </a:lnTo>
                  <a:lnTo>
                    <a:pt x="106" y="142"/>
                  </a:lnTo>
                  <a:lnTo>
                    <a:pt x="141" y="106"/>
                  </a:lnTo>
                  <a:lnTo>
                    <a:pt x="181" y="76"/>
                  </a:lnTo>
                  <a:lnTo>
                    <a:pt x="224" y="49"/>
                  </a:lnTo>
                  <a:lnTo>
                    <a:pt x="270" y="29"/>
                  </a:lnTo>
                  <a:lnTo>
                    <a:pt x="318" y="13"/>
                  </a:lnTo>
                  <a:lnTo>
                    <a:pt x="369" y="3"/>
                  </a:lnTo>
                  <a:lnTo>
                    <a:pt x="423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" name="Freeform 69">
              <a:extLst>
                <a:ext uri="{FF2B5EF4-FFF2-40B4-BE49-F238E27FC236}">
                  <a16:creationId xmlns:a16="http://schemas.microsoft.com/office/drawing/2014/main" id="{575D9F6A-0DE7-4DAB-5725-08047A52C076}"/>
                </a:ext>
              </a:extLst>
            </p:cNvPr>
            <p:cNvSpPr>
              <a:spLocks/>
            </p:cNvSpPr>
            <p:nvPr/>
          </p:nvSpPr>
          <p:spPr bwMode="auto">
            <a:xfrm>
              <a:off x="-630238" y="2587625"/>
              <a:ext cx="269875" cy="269875"/>
            </a:xfrm>
            <a:custGeom>
              <a:avLst/>
              <a:gdLst>
                <a:gd name="T0" fmla="*/ 424 w 848"/>
                <a:gd name="T1" fmla="*/ 0 h 846"/>
                <a:gd name="T2" fmla="*/ 477 w 848"/>
                <a:gd name="T3" fmla="*/ 3 h 846"/>
                <a:gd name="T4" fmla="*/ 528 w 848"/>
                <a:gd name="T5" fmla="*/ 13 h 846"/>
                <a:gd name="T6" fmla="*/ 577 w 848"/>
                <a:gd name="T7" fmla="*/ 29 h 846"/>
                <a:gd name="T8" fmla="*/ 623 w 848"/>
                <a:gd name="T9" fmla="*/ 49 h 846"/>
                <a:gd name="T10" fmla="*/ 666 w 848"/>
                <a:gd name="T11" fmla="*/ 76 h 846"/>
                <a:gd name="T12" fmla="*/ 705 w 848"/>
                <a:gd name="T13" fmla="*/ 107 h 846"/>
                <a:gd name="T14" fmla="*/ 740 w 848"/>
                <a:gd name="T15" fmla="*/ 142 h 846"/>
                <a:gd name="T16" fmla="*/ 772 w 848"/>
                <a:gd name="T17" fmla="*/ 181 h 846"/>
                <a:gd name="T18" fmla="*/ 798 w 848"/>
                <a:gd name="T19" fmla="*/ 225 h 846"/>
                <a:gd name="T20" fmla="*/ 819 w 848"/>
                <a:gd name="T21" fmla="*/ 271 h 846"/>
                <a:gd name="T22" fmla="*/ 835 w 848"/>
                <a:gd name="T23" fmla="*/ 319 h 846"/>
                <a:gd name="T24" fmla="*/ 844 w 848"/>
                <a:gd name="T25" fmla="*/ 370 h 846"/>
                <a:gd name="T26" fmla="*/ 848 w 848"/>
                <a:gd name="T27" fmla="*/ 423 h 846"/>
                <a:gd name="T28" fmla="*/ 844 w 848"/>
                <a:gd name="T29" fmla="*/ 476 h 846"/>
                <a:gd name="T30" fmla="*/ 835 w 848"/>
                <a:gd name="T31" fmla="*/ 527 h 846"/>
                <a:gd name="T32" fmla="*/ 819 w 848"/>
                <a:gd name="T33" fmla="*/ 575 h 846"/>
                <a:gd name="T34" fmla="*/ 798 w 848"/>
                <a:gd name="T35" fmla="*/ 621 h 846"/>
                <a:gd name="T36" fmla="*/ 772 w 848"/>
                <a:gd name="T37" fmla="*/ 665 h 846"/>
                <a:gd name="T38" fmla="*/ 740 w 848"/>
                <a:gd name="T39" fmla="*/ 703 h 846"/>
                <a:gd name="T40" fmla="*/ 705 w 848"/>
                <a:gd name="T41" fmla="*/ 739 h 846"/>
                <a:gd name="T42" fmla="*/ 666 w 848"/>
                <a:gd name="T43" fmla="*/ 770 h 846"/>
                <a:gd name="T44" fmla="*/ 623 w 848"/>
                <a:gd name="T45" fmla="*/ 797 h 846"/>
                <a:gd name="T46" fmla="*/ 577 w 848"/>
                <a:gd name="T47" fmla="*/ 817 h 846"/>
                <a:gd name="T48" fmla="*/ 528 w 848"/>
                <a:gd name="T49" fmla="*/ 833 h 846"/>
                <a:gd name="T50" fmla="*/ 477 w 848"/>
                <a:gd name="T51" fmla="*/ 843 h 846"/>
                <a:gd name="T52" fmla="*/ 424 w 848"/>
                <a:gd name="T53" fmla="*/ 846 h 846"/>
                <a:gd name="T54" fmla="*/ 370 w 848"/>
                <a:gd name="T55" fmla="*/ 843 h 846"/>
                <a:gd name="T56" fmla="*/ 320 w 848"/>
                <a:gd name="T57" fmla="*/ 833 h 846"/>
                <a:gd name="T58" fmla="*/ 271 w 848"/>
                <a:gd name="T59" fmla="*/ 817 h 846"/>
                <a:gd name="T60" fmla="*/ 225 w 848"/>
                <a:gd name="T61" fmla="*/ 797 h 846"/>
                <a:gd name="T62" fmla="*/ 181 w 848"/>
                <a:gd name="T63" fmla="*/ 770 h 846"/>
                <a:gd name="T64" fmla="*/ 143 w 848"/>
                <a:gd name="T65" fmla="*/ 739 h 846"/>
                <a:gd name="T66" fmla="*/ 107 w 848"/>
                <a:gd name="T67" fmla="*/ 703 h 846"/>
                <a:gd name="T68" fmla="*/ 76 w 848"/>
                <a:gd name="T69" fmla="*/ 665 h 846"/>
                <a:gd name="T70" fmla="*/ 49 w 848"/>
                <a:gd name="T71" fmla="*/ 621 h 846"/>
                <a:gd name="T72" fmla="*/ 29 w 848"/>
                <a:gd name="T73" fmla="*/ 575 h 846"/>
                <a:gd name="T74" fmla="*/ 13 w 848"/>
                <a:gd name="T75" fmla="*/ 527 h 846"/>
                <a:gd name="T76" fmla="*/ 3 w 848"/>
                <a:gd name="T77" fmla="*/ 476 h 846"/>
                <a:gd name="T78" fmla="*/ 0 w 848"/>
                <a:gd name="T79" fmla="*/ 423 h 846"/>
                <a:gd name="T80" fmla="*/ 3 w 848"/>
                <a:gd name="T81" fmla="*/ 370 h 846"/>
                <a:gd name="T82" fmla="*/ 13 w 848"/>
                <a:gd name="T83" fmla="*/ 319 h 846"/>
                <a:gd name="T84" fmla="*/ 29 w 848"/>
                <a:gd name="T85" fmla="*/ 271 h 846"/>
                <a:gd name="T86" fmla="*/ 49 w 848"/>
                <a:gd name="T87" fmla="*/ 225 h 846"/>
                <a:gd name="T88" fmla="*/ 76 w 848"/>
                <a:gd name="T89" fmla="*/ 181 h 846"/>
                <a:gd name="T90" fmla="*/ 107 w 848"/>
                <a:gd name="T91" fmla="*/ 142 h 846"/>
                <a:gd name="T92" fmla="*/ 143 w 848"/>
                <a:gd name="T93" fmla="*/ 107 h 846"/>
                <a:gd name="T94" fmla="*/ 181 w 848"/>
                <a:gd name="T95" fmla="*/ 76 h 846"/>
                <a:gd name="T96" fmla="*/ 225 w 848"/>
                <a:gd name="T97" fmla="*/ 49 h 846"/>
                <a:gd name="T98" fmla="*/ 271 w 848"/>
                <a:gd name="T99" fmla="*/ 29 h 846"/>
                <a:gd name="T100" fmla="*/ 320 w 848"/>
                <a:gd name="T101" fmla="*/ 13 h 846"/>
                <a:gd name="T102" fmla="*/ 370 w 848"/>
                <a:gd name="T103" fmla="*/ 3 h 846"/>
                <a:gd name="T104" fmla="*/ 424 w 848"/>
                <a:gd name="T105" fmla="*/ 0 h 8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48" h="846">
                  <a:moveTo>
                    <a:pt x="424" y="0"/>
                  </a:moveTo>
                  <a:lnTo>
                    <a:pt x="477" y="3"/>
                  </a:lnTo>
                  <a:lnTo>
                    <a:pt x="528" y="13"/>
                  </a:lnTo>
                  <a:lnTo>
                    <a:pt x="577" y="29"/>
                  </a:lnTo>
                  <a:lnTo>
                    <a:pt x="623" y="49"/>
                  </a:lnTo>
                  <a:lnTo>
                    <a:pt x="666" y="76"/>
                  </a:lnTo>
                  <a:lnTo>
                    <a:pt x="705" y="107"/>
                  </a:lnTo>
                  <a:lnTo>
                    <a:pt x="740" y="142"/>
                  </a:lnTo>
                  <a:lnTo>
                    <a:pt x="772" y="181"/>
                  </a:lnTo>
                  <a:lnTo>
                    <a:pt x="798" y="225"/>
                  </a:lnTo>
                  <a:lnTo>
                    <a:pt x="819" y="271"/>
                  </a:lnTo>
                  <a:lnTo>
                    <a:pt x="835" y="319"/>
                  </a:lnTo>
                  <a:lnTo>
                    <a:pt x="844" y="370"/>
                  </a:lnTo>
                  <a:lnTo>
                    <a:pt x="848" y="423"/>
                  </a:lnTo>
                  <a:lnTo>
                    <a:pt x="844" y="476"/>
                  </a:lnTo>
                  <a:lnTo>
                    <a:pt x="835" y="527"/>
                  </a:lnTo>
                  <a:lnTo>
                    <a:pt x="819" y="575"/>
                  </a:lnTo>
                  <a:lnTo>
                    <a:pt x="798" y="621"/>
                  </a:lnTo>
                  <a:lnTo>
                    <a:pt x="772" y="665"/>
                  </a:lnTo>
                  <a:lnTo>
                    <a:pt x="740" y="703"/>
                  </a:lnTo>
                  <a:lnTo>
                    <a:pt x="705" y="739"/>
                  </a:lnTo>
                  <a:lnTo>
                    <a:pt x="666" y="770"/>
                  </a:lnTo>
                  <a:lnTo>
                    <a:pt x="623" y="797"/>
                  </a:lnTo>
                  <a:lnTo>
                    <a:pt x="577" y="817"/>
                  </a:lnTo>
                  <a:lnTo>
                    <a:pt x="528" y="833"/>
                  </a:lnTo>
                  <a:lnTo>
                    <a:pt x="477" y="843"/>
                  </a:lnTo>
                  <a:lnTo>
                    <a:pt x="424" y="846"/>
                  </a:lnTo>
                  <a:lnTo>
                    <a:pt x="370" y="843"/>
                  </a:lnTo>
                  <a:lnTo>
                    <a:pt x="320" y="833"/>
                  </a:lnTo>
                  <a:lnTo>
                    <a:pt x="271" y="817"/>
                  </a:lnTo>
                  <a:lnTo>
                    <a:pt x="225" y="797"/>
                  </a:lnTo>
                  <a:lnTo>
                    <a:pt x="181" y="770"/>
                  </a:lnTo>
                  <a:lnTo>
                    <a:pt x="143" y="739"/>
                  </a:lnTo>
                  <a:lnTo>
                    <a:pt x="107" y="703"/>
                  </a:lnTo>
                  <a:lnTo>
                    <a:pt x="76" y="665"/>
                  </a:lnTo>
                  <a:lnTo>
                    <a:pt x="49" y="621"/>
                  </a:lnTo>
                  <a:lnTo>
                    <a:pt x="29" y="575"/>
                  </a:lnTo>
                  <a:lnTo>
                    <a:pt x="13" y="527"/>
                  </a:lnTo>
                  <a:lnTo>
                    <a:pt x="3" y="476"/>
                  </a:lnTo>
                  <a:lnTo>
                    <a:pt x="0" y="423"/>
                  </a:lnTo>
                  <a:lnTo>
                    <a:pt x="3" y="370"/>
                  </a:lnTo>
                  <a:lnTo>
                    <a:pt x="13" y="319"/>
                  </a:lnTo>
                  <a:lnTo>
                    <a:pt x="29" y="271"/>
                  </a:lnTo>
                  <a:lnTo>
                    <a:pt x="49" y="225"/>
                  </a:lnTo>
                  <a:lnTo>
                    <a:pt x="76" y="181"/>
                  </a:lnTo>
                  <a:lnTo>
                    <a:pt x="107" y="142"/>
                  </a:lnTo>
                  <a:lnTo>
                    <a:pt x="143" y="107"/>
                  </a:lnTo>
                  <a:lnTo>
                    <a:pt x="181" y="76"/>
                  </a:lnTo>
                  <a:lnTo>
                    <a:pt x="225" y="49"/>
                  </a:lnTo>
                  <a:lnTo>
                    <a:pt x="271" y="29"/>
                  </a:lnTo>
                  <a:lnTo>
                    <a:pt x="320" y="13"/>
                  </a:lnTo>
                  <a:lnTo>
                    <a:pt x="370" y="3"/>
                  </a:lnTo>
                  <a:lnTo>
                    <a:pt x="424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" name="Freeform 70">
              <a:extLst>
                <a:ext uri="{FF2B5EF4-FFF2-40B4-BE49-F238E27FC236}">
                  <a16:creationId xmlns:a16="http://schemas.microsoft.com/office/drawing/2014/main" id="{1E0702D2-6D43-B3D5-6E8B-9A3C04F89BFA}"/>
                </a:ext>
              </a:extLst>
            </p:cNvPr>
            <p:cNvSpPr>
              <a:spLocks/>
            </p:cNvSpPr>
            <p:nvPr/>
          </p:nvSpPr>
          <p:spPr bwMode="auto">
            <a:xfrm>
              <a:off x="-411163" y="3667125"/>
              <a:ext cx="142875" cy="168275"/>
            </a:xfrm>
            <a:custGeom>
              <a:avLst/>
              <a:gdLst>
                <a:gd name="T0" fmla="*/ 0 w 449"/>
                <a:gd name="T1" fmla="*/ 0 h 529"/>
                <a:gd name="T2" fmla="*/ 449 w 449"/>
                <a:gd name="T3" fmla="*/ 0 h 529"/>
                <a:gd name="T4" fmla="*/ 449 w 449"/>
                <a:gd name="T5" fmla="*/ 305 h 529"/>
                <a:gd name="T6" fmla="*/ 445 w 449"/>
                <a:gd name="T7" fmla="*/ 345 h 529"/>
                <a:gd name="T8" fmla="*/ 436 w 449"/>
                <a:gd name="T9" fmla="*/ 383 h 529"/>
                <a:gd name="T10" fmla="*/ 419 w 449"/>
                <a:gd name="T11" fmla="*/ 418 h 529"/>
                <a:gd name="T12" fmla="*/ 397 w 449"/>
                <a:gd name="T13" fmla="*/ 449 h 529"/>
                <a:gd name="T14" fmla="*/ 369 w 449"/>
                <a:gd name="T15" fmla="*/ 476 h 529"/>
                <a:gd name="T16" fmla="*/ 339 w 449"/>
                <a:gd name="T17" fmla="*/ 499 h 529"/>
                <a:gd name="T18" fmla="*/ 303 w 449"/>
                <a:gd name="T19" fmla="*/ 515 h 529"/>
                <a:gd name="T20" fmla="*/ 265 w 449"/>
                <a:gd name="T21" fmla="*/ 525 h 529"/>
                <a:gd name="T22" fmla="*/ 225 w 449"/>
                <a:gd name="T23" fmla="*/ 529 h 529"/>
                <a:gd name="T24" fmla="*/ 225 w 449"/>
                <a:gd name="T25" fmla="*/ 529 h 529"/>
                <a:gd name="T26" fmla="*/ 185 w 449"/>
                <a:gd name="T27" fmla="*/ 525 h 529"/>
                <a:gd name="T28" fmla="*/ 147 w 449"/>
                <a:gd name="T29" fmla="*/ 515 h 529"/>
                <a:gd name="T30" fmla="*/ 112 w 449"/>
                <a:gd name="T31" fmla="*/ 499 h 529"/>
                <a:gd name="T32" fmla="*/ 80 w 449"/>
                <a:gd name="T33" fmla="*/ 477 h 529"/>
                <a:gd name="T34" fmla="*/ 54 w 449"/>
                <a:gd name="T35" fmla="*/ 449 h 529"/>
                <a:gd name="T36" fmla="*/ 31 w 449"/>
                <a:gd name="T37" fmla="*/ 418 h 529"/>
                <a:gd name="T38" fmla="*/ 15 w 449"/>
                <a:gd name="T39" fmla="*/ 384 h 529"/>
                <a:gd name="T40" fmla="*/ 4 w 449"/>
                <a:gd name="T41" fmla="*/ 345 h 529"/>
                <a:gd name="T42" fmla="*/ 0 w 449"/>
                <a:gd name="T43" fmla="*/ 305 h 529"/>
                <a:gd name="T44" fmla="*/ 0 w 449"/>
                <a:gd name="T45" fmla="*/ 0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49" h="529">
                  <a:moveTo>
                    <a:pt x="0" y="0"/>
                  </a:moveTo>
                  <a:lnTo>
                    <a:pt x="449" y="0"/>
                  </a:lnTo>
                  <a:lnTo>
                    <a:pt x="449" y="305"/>
                  </a:lnTo>
                  <a:lnTo>
                    <a:pt x="445" y="345"/>
                  </a:lnTo>
                  <a:lnTo>
                    <a:pt x="436" y="383"/>
                  </a:lnTo>
                  <a:lnTo>
                    <a:pt x="419" y="418"/>
                  </a:lnTo>
                  <a:lnTo>
                    <a:pt x="397" y="449"/>
                  </a:lnTo>
                  <a:lnTo>
                    <a:pt x="369" y="476"/>
                  </a:lnTo>
                  <a:lnTo>
                    <a:pt x="339" y="499"/>
                  </a:lnTo>
                  <a:lnTo>
                    <a:pt x="303" y="515"/>
                  </a:lnTo>
                  <a:lnTo>
                    <a:pt x="265" y="525"/>
                  </a:lnTo>
                  <a:lnTo>
                    <a:pt x="225" y="529"/>
                  </a:lnTo>
                  <a:lnTo>
                    <a:pt x="225" y="529"/>
                  </a:lnTo>
                  <a:lnTo>
                    <a:pt x="185" y="525"/>
                  </a:lnTo>
                  <a:lnTo>
                    <a:pt x="147" y="515"/>
                  </a:lnTo>
                  <a:lnTo>
                    <a:pt x="112" y="499"/>
                  </a:lnTo>
                  <a:lnTo>
                    <a:pt x="80" y="477"/>
                  </a:lnTo>
                  <a:lnTo>
                    <a:pt x="54" y="449"/>
                  </a:lnTo>
                  <a:lnTo>
                    <a:pt x="31" y="418"/>
                  </a:lnTo>
                  <a:lnTo>
                    <a:pt x="15" y="384"/>
                  </a:lnTo>
                  <a:lnTo>
                    <a:pt x="4" y="345"/>
                  </a:lnTo>
                  <a:lnTo>
                    <a:pt x="0" y="3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" name="Freeform 71">
              <a:extLst>
                <a:ext uri="{FF2B5EF4-FFF2-40B4-BE49-F238E27FC236}">
                  <a16:creationId xmlns:a16="http://schemas.microsoft.com/office/drawing/2014/main" id="{8D3BEEBA-7A98-87D8-D5C6-C21245071B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206500" y="2849563"/>
              <a:ext cx="1133475" cy="985838"/>
            </a:xfrm>
            <a:custGeom>
              <a:avLst/>
              <a:gdLst>
                <a:gd name="T0" fmla="*/ 2967 w 3570"/>
                <a:gd name="T1" fmla="*/ 1562 h 3106"/>
                <a:gd name="T2" fmla="*/ 2816 w 3570"/>
                <a:gd name="T3" fmla="*/ 1513 h 3106"/>
                <a:gd name="T4" fmla="*/ 2732 w 3570"/>
                <a:gd name="T5" fmla="*/ 1583 h 3106"/>
                <a:gd name="T6" fmla="*/ 3079 w 3570"/>
                <a:gd name="T7" fmla="*/ 1519 h 3106"/>
                <a:gd name="T8" fmla="*/ 575 w 3570"/>
                <a:gd name="T9" fmla="*/ 0 h 3106"/>
                <a:gd name="T10" fmla="*/ 675 w 3570"/>
                <a:gd name="T11" fmla="*/ 13 h 3106"/>
                <a:gd name="T12" fmla="*/ 742 w 3570"/>
                <a:gd name="T13" fmla="*/ 39 h 3106"/>
                <a:gd name="T14" fmla="*/ 878 w 3570"/>
                <a:gd name="T15" fmla="*/ 140 h 3106"/>
                <a:gd name="T16" fmla="*/ 968 w 3570"/>
                <a:gd name="T17" fmla="*/ 331 h 3106"/>
                <a:gd name="T18" fmla="*/ 995 w 3570"/>
                <a:gd name="T19" fmla="*/ 496 h 3106"/>
                <a:gd name="T20" fmla="*/ 1067 w 3570"/>
                <a:gd name="T21" fmla="*/ 739 h 3106"/>
                <a:gd name="T22" fmla="*/ 1217 w 3570"/>
                <a:gd name="T23" fmla="*/ 851 h 3106"/>
                <a:gd name="T24" fmla="*/ 1428 w 3570"/>
                <a:gd name="T25" fmla="*/ 849 h 3106"/>
                <a:gd name="T26" fmla="*/ 1663 w 3570"/>
                <a:gd name="T27" fmla="*/ 815 h 3106"/>
                <a:gd name="T28" fmla="*/ 1905 w 3570"/>
                <a:gd name="T29" fmla="*/ 777 h 3106"/>
                <a:gd name="T30" fmla="*/ 2022 w 3570"/>
                <a:gd name="T31" fmla="*/ 687 h 3106"/>
                <a:gd name="T32" fmla="*/ 2085 w 3570"/>
                <a:gd name="T33" fmla="*/ 474 h 3106"/>
                <a:gd name="T34" fmla="*/ 2109 w 3570"/>
                <a:gd name="T35" fmla="*/ 331 h 3106"/>
                <a:gd name="T36" fmla="*/ 2199 w 3570"/>
                <a:gd name="T37" fmla="*/ 140 h 3106"/>
                <a:gd name="T38" fmla="*/ 2336 w 3570"/>
                <a:gd name="T39" fmla="*/ 39 h 3106"/>
                <a:gd name="T40" fmla="*/ 2401 w 3570"/>
                <a:gd name="T41" fmla="*/ 13 h 3106"/>
                <a:gd name="T42" fmla="*/ 2502 w 3570"/>
                <a:gd name="T43" fmla="*/ 0 h 3106"/>
                <a:gd name="T44" fmla="*/ 2595 w 3570"/>
                <a:gd name="T45" fmla="*/ 10 h 3106"/>
                <a:gd name="T46" fmla="*/ 2750 w 3570"/>
                <a:gd name="T47" fmla="*/ 105 h 3106"/>
                <a:gd name="T48" fmla="*/ 2821 w 3570"/>
                <a:gd name="T49" fmla="*/ 259 h 3106"/>
                <a:gd name="T50" fmla="*/ 2848 w 3570"/>
                <a:gd name="T51" fmla="*/ 368 h 3106"/>
                <a:gd name="T52" fmla="*/ 2903 w 3570"/>
                <a:gd name="T53" fmla="*/ 586 h 3106"/>
                <a:gd name="T54" fmla="*/ 2971 w 3570"/>
                <a:gd name="T55" fmla="*/ 855 h 3106"/>
                <a:gd name="T56" fmla="*/ 3036 w 3570"/>
                <a:gd name="T57" fmla="*/ 1116 h 3106"/>
                <a:gd name="T58" fmla="*/ 3084 w 3570"/>
                <a:gd name="T59" fmla="*/ 1309 h 3106"/>
                <a:gd name="T60" fmla="*/ 3099 w 3570"/>
                <a:gd name="T61" fmla="*/ 1411 h 3106"/>
                <a:gd name="T62" fmla="*/ 3230 w 3570"/>
                <a:gd name="T63" fmla="*/ 1516 h 3106"/>
                <a:gd name="T64" fmla="*/ 2302 w 3570"/>
                <a:gd name="T65" fmla="*/ 2516 h 3106"/>
                <a:gd name="T66" fmla="*/ 2659 w 3570"/>
                <a:gd name="T67" fmla="*/ 1488 h 3106"/>
                <a:gd name="T68" fmla="*/ 2760 w 3570"/>
                <a:gd name="T69" fmla="*/ 1361 h 3106"/>
                <a:gd name="T70" fmla="*/ 2690 w 3570"/>
                <a:gd name="T71" fmla="*/ 1088 h 3106"/>
                <a:gd name="T72" fmla="*/ 2612 w 3570"/>
                <a:gd name="T73" fmla="*/ 833 h 3106"/>
                <a:gd name="T74" fmla="*/ 2559 w 3570"/>
                <a:gd name="T75" fmla="*/ 676 h 3106"/>
                <a:gd name="T76" fmla="*/ 2508 w 3570"/>
                <a:gd name="T77" fmla="*/ 624 h 3106"/>
                <a:gd name="T78" fmla="*/ 2497 w 3570"/>
                <a:gd name="T79" fmla="*/ 679 h 3106"/>
                <a:gd name="T80" fmla="*/ 2599 w 3570"/>
                <a:gd name="T81" fmla="*/ 964 h 3106"/>
                <a:gd name="T82" fmla="*/ 2707 w 3570"/>
                <a:gd name="T83" fmla="*/ 1384 h 3106"/>
                <a:gd name="T84" fmla="*/ 2576 w 3570"/>
                <a:gd name="T85" fmla="*/ 1534 h 3106"/>
                <a:gd name="T86" fmla="*/ 2358 w 3570"/>
                <a:gd name="T87" fmla="*/ 1439 h 3106"/>
                <a:gd name="T88" fmla="*/ 2195 w 3570"/>
                <a:gd name="T89" fmla="*/ 989 h 3106"/>
                <a:gd name="T90" fmla="*/ 1959 w 3570"/>
                <a:gd name="T91" fmla="*/ 1104 h 3106"/>
                <a:gd name="T92" fmla="*/ 1667 w 3570"/>
                <a:gd name="T93" fmla="*/ 1168 h 3106"/>
                <a:gd name="T94" fmla="*/ 1554 w 3570"/>
                <a:gd name="T95" fmla="*/ 1248 h 3106"/>
                <a:gd name="T96" fmla="*/ 1250 w 3570"/>
                <a:gd name="T97" fmla="*/ 1202 h 3106"/>
                <a:gd name="T98" fmla="*/ 956 w 3570"/>
                <a:gd name="T99" fmla="*/ 1085 h 3106"/>
                <a:gd name="T100" fmla="*/ 755 w 3570"/>
                <a:gd name="T101" fmla="*/ 1370 h 3106"/>
                <a:gd name="T102" fmla="*/ 639 w 3570"/>
                <a:gd name="T103" fmla="*/ 1516 h 3106"/>
                <a:gd name="T104" fmla="*/ 558 w 3570"/>
                <a:gd name="T105" fmla="*/ 2960 h 3106"/>
                <a:gd name="T106" fmla="*/ 425 w 3570"/>
                <a:gd name="T107" fmla="*/ 3092 h 3106"/>
                <a:gd name="T108" fmla="*/ 234 w 3570"/>
                <a:gd name="T109" fmla="*/ 3076 h 3106"/>
                <a:gd name="T110" fmla="*/ 126 w 3570"/>
                <a:gd name="T111" fmla="*/ 2922 h 3106"/>
                <a:gd name="T112" fmla="*/ 41 w 3570"/>
                <a:gd name="T113" fmla="*/ 1376 h 3106"/>
                <a:gd name="T114" fmla="*/ 6 w 3570"/>
                <a:gd name="T115" fmla="*/ 1168 h 3106"/>
                <a:gd name="T116" fmla="*/ 279 w 3570"/>
                <a:gd name="T117" fmla="*/ 115 h 3106"/>
                <a:gd name="T118" fmla="*/ 446 w 3570"/>
                <a:gd name="T119" fmla="*/ 18 h 3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570" h="3106">
                  <a:moveTo>
                    <a:pt x="3057" y="1513"/>
                  </a:moveTo>
                  <a:lnTo>
                    <a:pt x="3038" y="1529"/>
                  </a:lnTo>
                  <a:lnTo>
                    <a:pt x="3017" y="1544"/>
                  </a:lnTo>
                  <a:lnTo>
                    <a:pt x="2993" y="1555"/>
                  </a:lnTo>
                  <a:lnTo>
                    <a:pt x="2967" y="1562"/>
                  </a:lnTo>
                  <a:lnTo>
                    <a:pt x="2936" y="1566"/>
                  </a:lnTo>
                  <a:lnTo>
                    <a:pt x="2902" y="1562"/>
                  </a:lnTo>
                  <a:lnTo>
                    <a:pt x="2869" y="1551"/>
                  </a:lnTo>
                  <a:lnTo>
                    <a:pt x="2840" y="1534"/>
                  </a:lnTo>
                  <a:lnTo>
                    <a:pt x="2816" y="1513"/>
                  </a:lnTo>
                  <a:lnTo>
                    <a:pt x="2793" y="1519"/>
                  </a:lnTo>
                  <a:lnTo>
                    <a:pt x="2773" y="1529"/>
                  </a:lnTo>
                  <a:lnTo>
                    <a:pt x="2756" y="1544"/>
                  </a:lnTo>
                  <a:lnTo>
                    <a:pt x="2742" y="1562"/>
                  </a:lnTo>
                  <a:lnTo>
                    <a:pt x="2732" y="1583"/>
                  </a:lnTo>
                  <a:lnTo>
                    <a:pt x="3139" y="1583"/>
                  </a:lnTo>
                  <a:lnTo>
                    <a:pt x="3130" y="1562"/>
                  </a:lnTo>
                  <a:lnTo>
                    <a:pt x="3116" y="1544"/>
                  </a:lnTo>
                  <a:lnTo>
                    <a:pt x="3098" y="1529"/>
                  </a:lnTo>
                  <a:lnTo>
                    <a:pt x="3079" y="1519"/>
                  </a:lnTo>
                  <a:lnTo>
                    <a:pt x="3057" y="1513"/>
                  </a:lnTo>
                  <a:close/>
                  <a:moveTo>
                    <a:pt x="559" y="0"/>
                  </a:moveTo>
                  <a:lnTo>
                    <a:pt x="560" y="0"/>
                  </a:lnTo>
                  <a:lnTo>
                    <a:pt x="564" y="0"/>
                  </a:lnTo>
                  <a:lnTo>
                    <a:pt x="575" y="0"/>
                  </a:lnTo>
                  <a:lnTo>
                    <a:pt x="592" y="1"/>
                  </a:lnTo>
                  <a:lnTo>
                    <a:pt x="611" y="2"/>
                  </a:lnTo>
                  <a:lnTo>
                    <a:pt x="634" y="5"/>
                  </a:lnTo>
                  <a:lnTo>
                    <a:pt x="656" y="8"/>
                  </a:lnTo>
                  <a:lnTo>
                    <a:pt x="675" y="13"/>
                  </a:lnTo>
                  <a:lnTo>
                    <a:pt x="695" y="18"/>
                  </a:lnTo>
                  <a:lnTo>
                    <a:pt x="710" y="24"/>
                  </a:lnTo>
                  <a:lnTo>
                    <a:pt x="724" y="30"/>
                  </a:lnTo>
                  <a:lnTo>
                    <a:pt x="735" y="35"/>
                  </a:lnTo>
                  <a:lnTo>
                    <a:pt x="742" y="39"/>
                  </a:lnTo>
                  <a:lnTo>
                    <a:pt x="744" y="40"/>
                  </a:lnTo>
                  <a:lnTo>
                    <a:pt x="779" y="59"/>
                  </a:lnTo>
                  <a:lnTo>
                    <a:pt x="815" y="82"/>
                  </a:lnTo>
                  <a:lnTo>
                    <a:pt x="847" y="110"/>
                  </a:lnTo>
                  <a:lnTo>
                    <a:pt x="878" y="140"/>
                  </a:lnTo>
                  <a:lnTo>
                    <a:pt x="905" y="173"/>
                  </a:lnTo>
                  <a:lnTo>
                    <a:pt x="928" y="209"/>
                  </a:lnTo>
                  <a:lnTo>
                    <a:pt x="947" y="248"/>
                  </a:lnTo>
                  <a:lnTo>
                    <a:pt x="961" y="289"/>
                  </a:lnTo>
                  <a:lnTo>
                    <a:pt x="968" y="331"/>
                  </a:lnTo>
                  <a:lnTo>
                    <a:pt x="970" y="337"/>
                  </a:lnTo>
                  <a:lnTo>
                    <a:pt x="972" y="345"/>
                  </a:lnTo>
                  <a:lnTo>
                    <a:pt x="973" y="351"/>
                  </a:lnTo>
                  <a:lnTo>
                    <a:pt x="984" y="427"/>
                  </a:lnTo>
                  <a:lnTo>
                    <a:pt x="995" y="496"/>
                  </a:lnTo>
                  <a:lnTo>
                    <a:pt x="1006" y="557"/>
                  </a:lnTo>
                  <a:lnTo>
                    <a:pt x="1018" y="613"/>
                  </a:lnTo>
                  <a:lnTo>
                    <a:pt x="1033" y="661"/>
                  </a:lnTo>
                  <a:lnTo>
                    <a:pt x="1048" y="704"/>
                  </a:lnTo>
                  <a:lnTo>
                    <a:pt x="1067" y="739"/>
                  </a:lnTo>
                  <a:lnTo>
                    <a:pt x="1088" y="769"/>
                  </a:lnTo>
                  <a:lnTo>
                    <a:pt x="1112" y="792"/>
                  </a:lnTo>
                  <a:lnTo>
                    <a:pt x="1141" y="814"/>
                  </a:lnTo>
                  <a:lnTo>
                    <a:pt x="1176" y="833"/>
                  </a:lnTo>
                  <a:lnTo>
                    <a:pt x="1217" y="851"/>
                  </a:lnTo>
                  <a:lnTo>
                    <a:pt x="1265" y="867"/>
                  </a:lnTo>
                  <a:lnTo>
                    <a:pt x="1320" y="883"/>
                  </a:lnTo>
                  <a:lnTo>
                    <a:pt x="1383" y="896"/>
                  </a:lnTo>
                  <a:lnTo>
                    <a:pt x="1402" y="870"/>
                  </a:lnTo>
                  <a:lnTo>
                    <a:pt x="1428" y="849"/>
                  </a:lnTo>
                  <a:lnTo>
                    <a:pt x="1456" y="832"/>
                  </a:lnTo>
                  <a:lnTo>
                    <a:pt x="1488" y="821"/>
                  </a:lnTo>
                  <a:lnTo>
                    <a:pt x="1522" y="817"/>
                  </a:lnTo>
                  <a:lnTo>
                    <a:pt x="1596" y="817"/>
                  </a:lnTo>
                  <a:lnTo>
                    <a:pt x="1663" y="815"/>
                  </a:lnTo>
                  <a:lnTo>
                    <a:pt x="1724" y="810"/>
                  </a:lnTo>
                  <a:lnTo>
                    <a:pt x="1778" y="805"/>
                  </a:lnTo>
                  <a:lnTo>
                    <a:pt x="1827" y="798"/>
                  </a:lnTo>
                  <a:lnTo>
                    <a:pt x="1869" y="788"/>
                  </a:lnTo>
                  <a:lnTo>
                    <a:pt x="1905" y="777"/>
                  </a:lnTo>
                  <a:lnTo>
                    <a:pt x="1937" y="765"/>
                  </a:lnTo>
                  <a:lnTo>
                    <a:pt x="1964" y="751"/>
                  </a:lnTo>
                  <a:lnTo>
                    <a:pt x="1985" y="734"/>
                  </a:lnTo>
                  <a:lnTo>
                    <a:pt x="2005" y="713"/>
                  </a:lnTo>
                  <a:lnTo>
                    <a:pt x="2022" y="687"/>
                  </a:lnTo>
                  <a:lnTo>
                    <a:pt x="2038" y="654"/>
                  </a:lnTo>
                  <a:lnTo>
                    <a:pt x="2051" y="618"/>
                  </a:lnTo>
                  <a:lnTo>
                    <a:pt x="2063" y="574"/>
                  </a:lnTo>
                  <a:lnTo>
                    <a:pt x="2074" y="527"/>
                  </a:lnTo>
                  <a:lnTo>
                    <a:pt x="2085" y="474"/>
                  </a:lnTo>
                  <a:lnTo>
                    <a:pt x="2095" y="415"/>
                  </a:lnTo>
                  <a:lnTo>
                    <a:pt x="2104" y="351"/>
                  </a:lnTo>
                  <a:lnTo>
                    <a:pt x="2105" y="345"/>
                  </a:lnTo>
                  <a:lnTo>
                    <a:pt x="2107" y="337"/>
                  </a:lnTo>
                  <a:lnTo>
                    <a:pt x="2109" y="331"/>
                  </a:lnTo>
                  <a:lnTo>
                    <a:pt x="2116" y="289"/>
                  </a:lnTo>
                  <a:lnTo>
                    <a:pt x="2130" y="248"/>
                  </a:lnTo>
                  <a:lnTo>
                    <a:pt x="2149" y="209"/>
                  </a:lnTo>
                  <a:lnTo>
                    <a:pt x="2172" y="173"/>
                  </a:lnTo>
                  <a:lnTo>
                    <a:pt x="2199" y="140"/>
                  </a:lnTo>
                  <a:lnTo>
                    <a:pt x="2230" y="110"/>
                  </a:lnTo>
                  <a:lnTo>
                    <a:pt x="2263" y="82"/>
                  </a:lnTo>
                  <a:lnTo>
                    <a:pt x="2297" y="59"/>
                  </a:lnTo>
                  <a:lnTo>
                    <a:pt x="2333" y="40"/>
                  </a:lnTo>
                  <a:lnTo>
                    <a:pt x="2336" y="39"/>
                  </a:lnTo>
                  <a:lnTo>
                    <a:pt x="2342" y="35"/>
                  </a:lnTo>
                  <a:lnTo>
                    <a:pt x="2353" y="30"/>
                  </a:lnTo>
                  <a:lnTo>
                    <a:pt x="2366" y="24"/>
                  </a:lnTo>
                  <a:lnTo>
                    <a:pt x="2383" y="18"/>
                  </a:lnTo>
                  <a:lnTo>
                    <a:pt x="2401" y="13"/>
                  </a:lnTo>
                  <a:lnTo>
                    <a:pt x="2421" y="8"/>
                  </a:lnTo>
                  <a:lnTo>
                    <a:pt x="2444" y="5"/>
                  </a:lnTo>
                  <a:lnTo>
                    <a:pt x="2465" y="2"/>
                  </a:lnTo>
                  <a:lnTo>
                    <a:pt x="2486" y="1"/>
                  </a:lnTo>
                  <a:lnTo>
                    <a:pt x="2502" y="0"/>
                  </a:lnTo>
                  <a:lnTo>
                    <a:pt x="2513" y="0"/>
                  </a:lnTo>
                  <a:lnTo>
                    <a:pt x="2516" y="0"/>
                  </a:lnTo>
                  <a:lnTo>
                    <a:pt x="2518" y="0"/>
                  </a:lnTo>
                  <a:lnTo>
                    <a:pt x="2558" y="2"/>
                  </a:lnTo>
                  <a:lnTo>
                    <a:pt x="2595" y="10"/>
                  </a:lnTo>
                  <a:lnTo>
                    <a:pt x="2630" y="21"/>
                  </a:lnTo>
                  <a:lnTo>
                    <a:pt x="2664" y="35"/>
                  </a:lnTo>
                  <a:lnTo>
                    <a:pt x="2696" y="54"/>
                  </a:lnTo>
                  <a:lnTo>
                    <a:pt x="2724" y="77"/>
                  </a:lnTo>
                  <a:lnTo>
                    <a:pt x="2750" y="105"/>
                  </a:lnTo>
                  <a:lnTo>
                    <a:pt x="2772" y="135"/>
                  </a:lnTo>
                  <a:lnTo>
                    <a:pt x="2792" y="172"/>
                  </a:lnTo>
                  <a:lnTo>
                    <a:pt x="2807" y="212"/>
                  </a:lnTo>
                  <a:lnTo>
                    <a:pt x="2819" y="255"/>
                  </a:lnTo>
                  <a:lnTo>
                    <a:pt x="2821" y="259"/>
                  </a:lnTo>
                  <a:lnTo>
                    <a:pt x="2823" y="270"/>
                  </a:lnTo>
                  <a:lnTo>
                    <a:pt x="2827" y="285"/>
                  </a:lnTo>
                  <a:lnTo>
                    <a:pt x="2833" y="308"/>
                  </a:lnTo>
                  <a:lnTo>
                    <a:pt x="2840" y="336"/>
                  </a:lnTo>
                  <a:lnTo>
                    <a:pt x="2848" y="368"/>
                  </a:lnTo>
                  <a:lnTo>
                    <a:pt x="2857" y="405"/>
                  </a:lnTo>
                  <a:lnTo>
                    <a:pt x="2868" y="445"/>
                  </a:lnTo>
                  <a:lnTo>
                    <a:pt x="2879" y="490"/>
                  </a:lnTo>
                  <a:lnTo>
                    <a:pt x="2891" y="537"/>
                  </a:lnTo>
                  <a:lnTo>
                    <a:pt x="2903" y="586"/>
                  </a:lnTo>
                  <a:lnTo>
                    <a:pt x="2916" y="637"/>
                  </a:lnTo>
                  <a:lnTo>
                    <a:pt x="2930" y="690"/>
                  </a:lnTo>
                  <a:lnTo>
                    <a:pt x="2944" y="745"/>
                  </a:lnTo>
                  <a:lnTo>
                    <a:pt x="2958" y="800"/>
                  </a:lnTo>
                  <a:lnTo>
                    <a:pt x="2971" y="855"/>
                  </a:lnTo>
                  <a:lnTo>
                    <a:pt x="2985" y="909"/>
                  </a:lnTo>
                  <a:lnTo>
                    <a:pt x="2999" y="964"/>
                  </a:lnTo>
                  <a:lnTo>
                    <a:pt x="3012" y="1016"/>
                  </a:lnTo>
                  <a:lnTo>
                    <a:pt x="3024" y="1068"/>
                  </a:lnTo>
                  <a:lnTo>
                    <a:pt x="3036" y="1116"/>
                  </a:lnTo>
                  <a:lnTo>
                    <a:pt x="3048" y="1162"/>
                  </a:lnTo>
                  <a:lnTo>
                    <a:pt x="3058" y="1204"/>
                  </a:lnTo>
                  <a:lnTo>
                    <a:pt x="3068" y="1244"/>
                  </a:lnTo>
                  <a:lnTo>
                    <a:pt x="3076" y="1279"/>
                  </a:lnTo>
                  <a:lnTo>
                    <a:pt x="3084" y="1309"/>
                  </a:lnTo>
                  <a:lnTo>
                    <a:pt x="3090" y="1336"/>
                  </a:lnTo>
                  <a:lnTo>
                    <a:pt x="3095" y="1355"/>
                  </a:lnTo>
                  <a:lnTo>
                    <a:pt x="3098" y="1370"/>
                  </a:lnTo>
                  <a:lnTo>
                    <a:pt x="3101" y="1390"/>
                  </a:lnTo>
                  <a:lnTo>
                    <a:pt x="3099" y="1411"/>
                  </a:lnTo>
                  <a:lnTo>
                    <a:pt x="3132" y="1423"/>
                  </a:lnTo>
                  <a:lnTo>
                    <a:pt x="3162" y="1441"/>
                  </a:lnTo>
                  <a:lnTo>
                    <a:pt x="3189" y="1463"/>
                  </a:lnTo>
                  <a:lnTo>
                    <a:pt x="3212" y="1488"/>
                  </a:lnTo>
                  <a:lnTo>
                    <a:pt x="3230" y="1516"/>
                  </a:lnTo>
                  <a:lnTo>
                    <a:pt x="3244" y="1549"/>
                  </a:lnTo>
                  <a:lnTo>
                    <a:pt x="3253" y="1583"/>
                  </a:lnTo>
                  <a:lnTo>
                    <a:pt x="3570" y="1583"/>
                  </a:lnTo>
                  <a:lnTo>
                    <a:pt x="3570" y="2516"/>
                  </a:lnTo>
                  <a:lnTo>
                    <a:pt x="2302" y="2516"/>
                  </a:lnTo>
                  <a:lnTo>
                    <a:pt x="2302" y="1583"/>
                  </a:lnTo>
                  <a:lnTo>
                    <a:pt x="2619" y="1583"/>
                  </a:lnTo>
                  <a:lnTo>
                    <a:pt x="2628" y="1549"/>
                  </a:lnTo>
                  <a:lnTo>
                    <a:pt x="2641" y="1517"/>
                  </a:lnTo>
                  <a:lnTo>
                    <a:pt x="2659" y="1488"/>
                  </a:lnTo>
                  <a:lnTo>
                    <a:pt x="2682" y="1463"/>
                  </a:lnTo>
                  <a:lnTo>
                    <a:pt x="2709" y="1441"/>
                  </a:lnTo>
                  <a:lnTo>
                    <a:pt x="2738" y="1424"/>
                  </a:lnTo>
                  <a:lnTo>
                    <a:pt x="2770" y="1412"/>
                  </a:lnTo>
                  <a:lnTo>
                    <a:pt x="2760" y="1361"/>
                  </a:lnTo>
                  <a:lnTo>
                    <a:pt x="2748" y="1309"/>
                  </a:lnTo>
                  <a:lnTo>
                    <a:pt x="2735" y="1256"/>
                  </a:lnTo>
                  <a:lnTo>
                    <a:pt x="2720" y="1201"/>
                  </a:lnTo>
                  <a:lnTo>
                    <a:pt x="2705" y="1144"/>
                  </a:lnTo>
                  <a:lnTo>
                    <a:pt x="2690" y="1088"/>
                  </a:lnTo>
                  <a:lnTo>
                    <a:pt x="2674" y="1034"/>
                  </a:lnTo>
                  <a:lnTo>
                    <a:pt x="2658" y="979"/>
                  </a:lnTo>
                  <a:lnTo>
                    <a:pt x="2642" y="927"/>
                  </a:lnTo>
                  <a:lnTo>
                    <a:pt x="2627" y="879"/>
                  </a:lnTo>
                  <a:lnTo>
                    <a:pt x="2612" y="833"/>
                  </a:lnTo>
                  <a:lnTo>
                    <a:pt x="2599" y="791"/>
                  </a:lnTo>
                  <a:lnTo>
                    <a:pt x="2587" y="753"/>
                  </a:lnTo>
                  <a:lnTo>
                    <a:pt x="2576" y="722"/>
                  </a:lnTo>
                  <a:lnTo>
                    <a:pt x="2566" y="695"/>
                  </a:lnTo>
                  <a:lnTo>
                    <a:pt x="2559" y="676"/>
                  </a:lnTo>
                  <a:lnTo>
                    <a:pt x="2549" y="654"/>
                  </a:lnTo>
                  <a:lnTo>
                    <a:pt x="2538" y="640"/>
                  </a:lnTo>
                  <a:lnTo>
                    <a:pt x="2527" y="629"/>
                  </a:lnTo>
                  <a:lnTo>
                    <a:pt x="2516" y="624"/>
                  </a:lnTo>
                  <a:lnTo>
                    <a:pt x="2508" y="624"/>
                  </a:lnTo>
                  <a:lnTo>
                    <a:pt x="2499" y="627"/>
                  </a:lnTo>
                  <a:lnTo>
                    <a:pt x="2495" y="635"/>
                  </a:lnTo>
                  <a:lnTo>
                    <a:pt x="2491" y="647"/>
                  </a:lnTo>
                  <a:lnTo>
                    <a:pt x="2492" y="661"/>
                  </a:lnTo>
                  <a:lnTo>
                    <a:pt x="2497" y="679"/>
                  </a:lnTo>
                  <a:lnTo>
                    <a:pt x="2507" y="701"/>
                  </a:lnTo>
                  <a:lnTo>
                    <a:pt x="2530" y="757"/>
                  </a:lnTo>
                  <a:lnTo>
                    <a:pt x="2553" y="821"/>
                  </a:lnTo>
                  <a:lnTo>
                    <a:pt x="2576" y="890"/>
                  </a:lnTo>
                  <a:lnTo>
                    <a:pt x="2599" y="964"/>
                  </a:lnTo>
                  <a:lnTo>
                    <a:pt x="2622" y="1042"/>
                  </a:lnTo>
                  <a:lnTo>
                    <a:pt x="2645" y="1124"/>
                  </a:lnTo>
                  <a:lnTo>
                    <a:pt x="2667" y="1209"/>
                  </a:lnTo>
                  <a:lnTo>
                    <a:pt x="2687" y="1296"/>
                  </a:lnTo>
                  <a:lnTo>
                    <a:pt x="2707" y="1384"/>
                  </a:lnTo>
                  <a:lnTo>
                    <a:pt x="2672" y="1406"/>
                  </a:lnTo>
                  <a:lnTo>
                    <a:pt x="2641" y="1433"/>
                  </a:lnTo>
                  <a:lnTo>
                    <a:pt x="2615" y="1463"/>
                  </a:lnTo>
                  <a:lnTo>
                    <a:pt x="2593" y="1497"/>
                  </a:lnTo>
                  <a:lnTo>
                    <a:pt x="2576" y="1534"/>
                  </a:lnTo>
                  <a:lnTo>
                    <a:pt x="2469" y="1534"/>
                  </a:lnTo>
                  <a:lnTo>
                    <a:pt x="2438" y="1515"/>
                  </a:lnTo>
                  <a:lnTo>
                    <a:pt x="2407" y="1493"/>
                  </a:lnTo>
                  <a:lnTo>
                    <a:pt x="2381" y="1468"/>
                  </a:lnTo>
                  <a:lnTo>
                    <a:pt x="2358" y="1439"/>
                  </a:lnTo>
                  <a:lnTo>
                    <a:pt x="2337" y="1406"/>
                  </a:lnTo>
                  <a:lnTo>
                    <a:pt x="2321" y="1370"/>
                  </a:lnTo>
                  <a:lnTo>
                    <a:pt x="2309" y="1331"/>
                  </a:lnTo>
                  <a:lnTo>
                    <a:pt x="2229" y="956"/>
                  </a:lnTo>
                  <a:lnTo>
                    <a:pt x="2195" y="989"/>
                  </a:lnTo>
                  <a:lnTo>
                    <a:pt x="2156" y="1019"/>
                  </a:lnTo>
                  <a:lnTo>
                    <a:pt x="2114" y="1045"/>
                  </a:lnTo>
                  <a:lnTo>
                    <a:pt x="2067" y="1068"/>
                  </a:lnTo>
                  <a:lnTo>
                    <a:pt x="2015" y="1087"/>
                  </a:lnTo>
                  <a:lnTo>
                    <a:pt x="1959" y="1104"/>
                  </a:lnTo>
                  <a:lnTo>
                    <a:pt x="1897" y="1117"/>
                  </a:lnTo>
                  <a:lnTo>
                    <a:pt x="1830" y="1128"/>
                  </a:lnTo>
                  <a:lnTo>
                    <a:pt x="1758" y="1136"/>
                  </a:lnTo>
                  <a:lnTo>
                    <a:pt x="1679" y="1143"/>
                  </a:lnTo>
                  <a:lnTo>
                    <a:pt x="1667" y="1168"/>
                  </a:lnTo>
                  <a:lnTo>
                    <a:pt x="1650" y="1192"/>
                  </a:lnTo>
                  <a:lnTo>
                    <a:pt x="1630" y="1211"/>
                  </a:lnTo>
                  <a:lnTo>
                    <a:pt x="1607" y="1228"/>
                  </a:lnTo>
                  <a:lnTo>
                    <a:pt x="1582" y="1240"/>
                  </a:lnTo>
                  <a:lnTo>
                    <a:pt x="1554" y="1248"/>
                  </a:lnTo>
                  <a:lnTo>
                    <a:pt x="1525" y="1250"/>
                  </a:lnTo>
                  <a:lnTo>
                    <a:pt x="1502" y="1249"/>
                  </a:lnTo>
                  <a:lnTo>
                    <a:pt x="1411" y="1234"/>
                  </a:lnTo>
                  <a:lnTo>
                    <a:pt x="1327" y="1220"/>
                  </a:lnTo>
                  <a:lnTo>
                    <a:pt x="1250" y="1202"/>
                  </a:lnTo>
                  <a:lnTo>
                    <a:pt x="1179" y="1184"/>
                  </a:lnTo>
                  <a:lnTo>
                    <a:pt x="1115" y="1162"/>
                  </a:lnTo>
                  <a:lnTo>
                    <a:pt x="1057" y="1139"/>
                  </a:lnTo>
                  <a:lnTo>
                    <a:pt x="1004" y="1114"/>
                  </a:lnTo>
                  <a:lnTo>
                    <a:pt x="956" y="1085"/>
                  </a:lnTo>
                  <a:lnTo>
                    <a:pt x="914" y="1054"/>
                  </a:lnTo>
                  <a:lnTo>
                    <a:pt x="875" y="1022"/>
                  </a:lnTo>
                  <a:lnTo>
                    <a:pt x="841" y="985"/>
                  </a:lnTo>
                  <a:lnTo>
                    <a:pt x="767" y="1330"/>
                  </a:lnTo>
                  <a:lnTo>
                    <a:pt x="755" y="1370"/>
                  </a:lnTo>
                  <a:lnTo>
                    <a:pt x="739" y="1406"/>
                  </a:lnTo>
                  <a:lnTo>
                    <a:pt x="719" y="1439"/>
                  </a:lnTo>
                  <a:lnTo>
                    <a:pt x="696" y="1468"/>
                  </a:lnTo>
                  <a:lnTo>
                    <a:pt x="668" y="1493"/>
                  </a:lnTo>
                  <a:lnTo>
                    <a:pt x="639" y="1516"/>
                  </a:lnTo>
                  <a:lnTo>
                    <a:pt x="606" y="1534"/>
                  </a:lnTo>
                  <a:lnTo>
                    <a:pt x="572" y="1550"/>
                  </a:lnTo>
                  <a:lnTo>
                    <a:pt x="571" y="2882"/>
                  </a:lnTo>
                  <a:lnTo>
                    <a:pt x="567" y="2922"/>
                  </a:lnTo>
                  <a:lnTo>
                    <a:pt x="558" y="2960"/>
                  </a:lnTo>
                  <a:lnTo>
                    <a:pt x="541" y="2995"/>
                  </a:lnTo>
                  <a:lnTo>
                    <a:pt x="519" y="3026"/>
                  </a:lnTo>
                  <a:lnTo>
                    <a:pt x="491" y="3053"/>
                  </a:lnTo>
                  <a:lnTo>
                    <a:pt x="461" y="3076"/>
                  </a:lnTo>
                  <a:lnTo>
                    <a:pt x="425" y="3092"/>
                  </a:lnTo>
                  <a:lnTo>
                    <a:pt x="387" y="3102"/>
                  </a:lnTo>
                  <a:lnTo>
                    <a:pt x="347" y="3106"/>
                  </a:lnTo>
                  <a:lnTo>
                    <a:pt x="307" y="3102"/>
                  </a:lnTo>
                  <a:lnTo>
                    <a:pt x="269" y="3092"/>
                  </a:lnTo>
                  <a:lnTo>
                    <a:pt x="234" y="3076"/>
                  </a:lnTo>
                  <a:lnTo>
                    <a:pt x="202" y="3053"/>
                  </a:lnTo>
                  <a:lnTo>
                    <a:pt x="176" y="3026"/>
                  </a:lnTo>
                  <a:lnTo>
                    <a:pt x="153" y="2995"/>
                  </a:lnTo>
                  <a:lnTo>
                    <a:pt x="137" y="2960"/>
                  </a:lnTo>
                  <a:lnTo>
                    <a:pt x="126" y="2922"/>
                  </a:lnTo>
                  <a:lnTo>
                    <a:pt x="122" y="2882"/>
                  </a:lnTo>
                  <a:lnTo>
                    <a:pt x="124" y="1474"/>
                  </a:lnTo>
                  <a:lnTo>
                    <a:pt x="92" y="1444"/>
                  </a:lnTo>
                  <a:lnTo>
                    <a:pt x="64" y="1411"/>
                  </a:lnTo>
                  <a:lnTo>
                    <a:pt x="41" y="1376"/>
                  </a:lnTo>
                  <a:lnTo>
                    <a:pt x="22" y="1338"/>
                  </a:lnTo>
                  <a:lnTo>
                    <a:pt x="8" y="1299"/>
                  </a:lnTo>
                  <a:lnTo>
                    <a:pt x="1" y="1256"/>
                  </a:lnTo>
                  <a:lnTo>
                    <a:pt x="0" y="1213"/>
                  </a:lnTo>
                  <a:lnTo>
                    <a:pt x="6" y="1168"/>
                  </a:lnTo>
                  <a:lnTo>
                    <a:pt x="202" y="255"/>
                  </a:lnTo>
                  <a:lnTo>
                    <a:pt x="215" y="215"/>
                  </a:lnTo>
                  <a:lnTo>
                    <a:pt x="232" y="178"/>
                  </a:lnTo>
                  <a:lnTo>
                    <a:pt x="253" y="144"/>
                  </a:lnTo>
                  <a:lnTo>
                    <a:pt x="279" y="115"/>
                  </a:lnTo>
                  <a:lnTo>
                    <a:pt x="308" y="88"/>
                  </a:lnTo>
                  <a:lnTo>
                    <a:pt x="339" y="65"/>
                  </a:lnTo>
                  <a:lnTo>
                    <a:pt x="373" y="46"/>
                  </a:lnTo>
                  <a:lnTo>
                    <a:pt x="410" y="30"/>
                  </a:lnTo>
                  <a:lnTo>
                    <a:pt x="446" y="18"/>
                  </a:lnTo>
                  <a:lnTo>
                    <a:pt x="484" y="8"/>
                  </a:lnTo>
                  <a:lnTo>
                    <a:pt x="521" y="2"/>
                  </a:lnTo>
                  <a:lnTo>
                    <a:pt x="55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633FBF13-0864-35BD-C2FC-6C527EADF090}"/>
              </a:ext>
            </a:extLst>
          </p:cNvPr>
          <p:cNvGrpSpPr/>
          <p:nvPr/>
        </p:nvGrpSpPr>
        <p:grpSpPr>
          <a:xfrm>
            <a:off x="5563147" y="4777433"/>
            <a:ext cx="271275" cy="392294"/>
            <a:chOff x="-1103313" y="2519361"/>
            <a:chExt cx="414338" cy="598488"/>
          </a:xfrm>
        </p:grpSpPr>
        <p:sp>
          <p:nvSpPr>
            <p:cNvPr id="9" name="Freeform 91">
              <a:extLst>
                <a:ext uri="{FF2B5EF4-FFF2-40B4-BE49-F238E27FC236}">
                  <a16:creationId xmlns:a16="http://schemas.microsoft.com/office/drawing/2014/main" id="{E1733AC6-1E7C-8D18-2807-DFB6D3847F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103313" y="2519361"/>
              <a:ext cx="414338" cy="598488"/>
            </a:xfrm>
            <a:custGeom>
              <a:avLst/>
              <a:gdLst>
                <a:gd name="T0" fmla="*/ 1610 w 2347"/>
                <a:gd name="T1" fmla="*/ 805 h 3396"/>
                <a:gd name="T2" fmla="*/ 373 w 2347"/>
                <a:gd name="T3" fmla="*/ 449 h 3396"/>
                <a:gd name="T4" fmla="*/ 283 w 2347"/>
                <a:gd name="T5" fmla="*/ 477 h 3396"/>
                <a:gd name="T6" fmla="*/ 226 w 2347"/>
                <a:gd name="T7" fmla="*/ 547 h 3396"/>
                <a:gd name="T8" fmla="*/ 213 w 2347"/>
                <a:gd name="T9" fmla="*/ 3025 h 3396"/>
                <a:gd name="T10" fmla="*/ 241 w 2347"/>
                <a:gd name="T11" fmla="*/ 3113 h 3396"/>
                <a:gd name="T12" fmla="*/ 311 w 2347"/>
                <a:gd name="T13" fmla="*/ 3170 h 3396"/>
                <a:gd name="T14" fmla="*/ 1974 w 2347"/>
                <a:gd name="T15" fmla="*/ 3183 h 3396"/>
                <a:gd name="T16" fmla="*/ 2064 w 2347"/>
                <a:gd name="T17" fmla="*/ 3155 h 3396"/>
                <a:gd name="T18" fmla="*/ 2122 w 2347"/>
                <a:gd name="T19" fmla="*/ 3086 h 3396"/>
                <a:gd name="T20" fmla="*/ 2134 w 2347"/>
                <a:gd name="T21" fmla="*/ 609 h 3396"/>
                <a:gd name="T22" fmla="*/ 2107 w 2347"/>
                <a:gd name="T23" fmla="*/ 520 h 3396"/>
                <a:gd name="T24" fmla="*/ 2036 w 2347"/>
                <a:gd name="T25" fmla="*/ 462 h 3396"/>
                <a:gd name="T26" fmla="*/ 1821 w 2347"/>
                <a:gd name="T27" fmla="*/ 449 h 3396"/>
                <a:gd name="T28" fmla="*/ 1809 w 2347"/>
                <a:gd name="T29" fmla="*/ 894 h 3396"/>
                <a:gd name="T30" fmla="*/ 1755 w 2347"/>
                <a:gd name="T31" fmla="*/ 971 h 3396"/>
                <a:gd name="T32" fmla="*/ 1668 w 2347"/>
                <a:gd name="T33" fmla="*/ 1011 h 3396"/>
                <a:gd name="T34" fmla="*/ 679 w 2347"/>
                <a:gd name="T35" fmla="*/ 1011 h 3396"/>
                <a:gd name="T36" fmla="*/ 592 w 2347"/>
                <a:gd name="T37" fmla="*/ 971 h 3396"/>
                <a:gd name="T38" fmla="*/ 538 w 2347"/>
                <a:gd name="T39" fmla="*/ 894 h 3396"/>
                <a:gd name="T40" fmla="*/ 526 w 2347"/>
                <a:gd name="T41" fmla="*/ 449 h 3396"/>
                <a:gd name="T42" fmla="*/ 1152 w 2347"/>
                <a:gd name="T43" fmla="*/ 75 h 3396"/>
                <a:gd name="T44" fmla="*/ 1104 w 2347"/>
                <a:gd name="T45" fmla="*/ 112 h 3396"/>
                <a:gd name="T46" fmla="*/ 1096 w 2347"/>
                <a:gd name="T47" fmla="*/ 174 h 3396"/>
                <a:gd name="T48" fmla="*/ 1132 w 2347"/>
                <a:gd name="T49" fmla="*/ 222 h 3396"/>
                <a:gd name="T50" fmla="*/ 1195 w 2347"/>
                <a:gd name="T51" fmla="*/ 230 h 3396"/>
                <a:gd name="T52" fmla="*/ 1244 w 2347"/>
                <a:gd name="T53" fmla="*/ 193 h 3396"/>
                <a:gd name="T54" fmla="*/ 1251 w 2347"/>
                <a:gd name="T55" fmla="*/ 131 h 3396"/>
                <a:gd name="T56" fmla="*/ 1215 w 2347"/>
                <a:gd name="T57" fmla="*/ 84 h 3396"/>
                <a:gd name="T58" fmla="*/ 989 w 2347"/>
                <a:gd name="T59" fmla="*/ 0 h 3396"/>
                <a:gd name="T60" fmla="*/ 1421 w 2347"/>
                <a:gd name="T61" fmla="*/ 12 h 3396"/>
                <a:gd name="T62" fmla="*/ 1493 w 2347"/>
                <a:gd name="T63" fmla="*/ 71 h 3396"/>
                <a:gd name="T64" fmla="*/ 1519 w 2347"/>
                <a:gd name="T65" fmla="*/ 161 h 3396"/>
                <a:gd name="T66" fmla="*/ 2021 w 2347"/>
                <a:gd name="T67" fmla="*/ 241 h 3396"/>
                <a:gd name="T68" fmla="*/ 2149 w 2347"/>
                <a:gd name="T69" fmla="*/ 281 h 3396"/>
                <a:gd name="T70" fmla="*/ 2253 w 2347"/>
                <a:gd name="T71" fmla="*/ 362 h 3396"/>
                <a:gd name="T72" fmla="*/ 2323 w 2347"/>
                <a:gd name="T73" fmla="*/ 475 h 3396"/>
                <a:gd name="T74" fmla="*/ 2347 w 2347"/>
                <a:gd name="T75" fmla="*/ 609 h 3396"/>
                <a:gd name="T76" fmla="*/ 2335 w 2347"/>
                <a:gd name="T77" fmla="*/ 3115 h 3396"/>
                <a:gd name="T78" fmla="*/ 2281 w 2347"/>
                <a:gd name="T79" fmla="*/ 3236 h 3396"/>
                <a:gd name="T80" fmla="*/ 2187 w 2347"/>
                <a:gd name="T81" fmla="*/ 3329 h 3396"/>
                <a:gd name="T82" fmla="*/ 2066 w 2347"/>
                <a:gd name="T83" fmla="*/ 3384 h 3396"/>
                <a:gd name="T84" fmla="*/ 373 w 2347"/>
                <a:gd name="T85" fmla="*/ 3396 h 3396"/>
                <a:gd name="T86" fmla="*/ 238 w 2347"/>
                <a:gd name="T87" fmla="*/ 3370 h 3396"/>
                <a:gd name="T88" fmla="*/ 125 w 2347"/>
                <a:gd name="T89" fmla="*/ 3301 h 3396"/>
                <a:gd name="T90" fmla="*/ 44 w 2347"/>
                <a:gd name="T91" fmla="*/ 3198 h 3396"/>
                <a:gd name="T92" fmla="*/ 3 w 2347"/>
                <a:gd name="T93" fmla="*/ 3070 h 3396"/>
                <a:gd name="T94" fmla="*/ 3 w 2347"/>
                <a:gd name="T95" fmla="*/ 562 h 3396"/>
                <a:gd name="T96" fmla="*/ 44 w 2347"/>
                <a:gd name="T97" fmla="*/ 435 h 3396"/>
                <a:gd name="T98" fmla="*/ 125 w 2347"/>
                <a:gd name="T99" fmla="*/ 331 h 3396"/>
                <a:gd name="T100" fmla="*/ 238 w 2347"/>
                <a:gd name="T101" fmla="*/ 262 h 3396"/>
                <a:gd name="T102" fmla="*/ 373 w 2347"/>
                <a:gd name="T103" fmla="*/ 238 h 3396"/>
                <a:gd name="T104" fmla="*/ 831 w 2347"/>
                <a:gd name="T105" fmla="*/ 128 h 3396"/>
                <a:gd name="T106" fmla="*/ 875 w 2347"/>
                <a:gd name="T107" fmla="*/ 47 h 3396"/>
                <a:gd name="T108" fmla="*/ 956 w 2347"/>
                <a:gd name="T109" fmla="*/ 3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347" h="3396">
                  <a:moveTo>
                    <a:pt x="737" y="465"/>
                  </a:moveTo>
                  <a:lnTo>
                    <a:pt x="737" y="805"/>
                  </a:lnTo>
                  <a:lnTo>
                    <a:pt x="1610" y="805"/>
                  </a:lnTo>
                  <a:lnTo>
                    <a:pt x="1610" y="465"/>
                  </a:lnTo>
                  <a:lnTo>
                    <a:pt x="737" y="465"/>
                  </a:lnTo>
                  <a:close/>
                  <a:moveTo>
                    <a:pt x="373" y="449"/>
                  </a:moveTo>
                  <a:lnTo>
                    <a:pt x="341" y="453"/>
                  </a:lnTo>
                  <a:lnTo>
                    <a:pt x="311" y="462"/>
                  </a:lnTo>
                  <a:lnTo>
                    <a:pt x="283" y="477"/>
                  </a:lnTo>
                  <a:lnTo>
                    <a:pt x="260" y="496"/>
                  </a:lnTo>
                  <a:lnTo>
                    <a:pt x="241" y="520"/>
                  </a:lnTo>
                  <a:lnTo>
                    <a:pt x="226" y="547"/>
                  </a:lnTo>
                  <a:lnTo>
                    <a:pt x="217" y="577"/>
                  </a:lnTo>
                  <a:lnTo>
                    <a:pt x="213" y="609"/>
                  </a:lnTo>
                  <a:lnTo>
                    <a:pt x="213" y="3025"/>
                  </a:lnTo>
                  <a:lnTo>
                    <a:pt x="217" y="3056"/>
                  </a:lnTo>
                  <a:lnTo>
                    <a:pt x="226" y="3086"/>
                  </a:lnTo>
                  <a:lnTo>
                    <a:pt x="241" y="3113"/>
                  </a:lnTo>
                  <a:lnTo>
                    <a:pt x="260" y="3136"/>
                  </a:lnTo>
                  <a:lnTo>
                    <a:pt x="283" y="3155"/>
                  </a:lnTo>
                  <a:lnTo>
                    <a:pt x="311" y="3170"/>
                  </a:lnTo>
                  <a:lnTo>
                    <a:pt x="341" y="3180"/>
                  </a:lnTo>
                  <a:lnTo>
                    <a:pt x="373" y="3183"/>
                  </a:lnTo>
                  <a:lnTo>
                    <a:pt x="1974" y="3183"/>
                  </a:lnTo>
                  <a:lnTo>
                    <a:pt x="2006" y="3180"/>
                  </a:lnTo>
                  <a:lnTo>
                    <a:pt x="2036" y="3170"/>
                  </a:lnTo>
                  <a:lnTo>
                    <a:pt x="2064" y="3155"/>
                  </a:lnTo>
                  <a:lnTo>
                    <a:pt x="2087" y="3136"/>
                  </a:lnTo>
                  <a:lnTo>
                    <a:pt x="2107" y="3113"/>
                  </a:lnTo>
                  <a:lnTo>
                    <a:pt x="2122" y="3086"/>
                  </a:lnTo>
                  <a:lnTo>
                    <a:pt x="2131" y="3056"/>
                  </a:lnTo>
                  <a:lnTo>
                    <a:pt x="2134" y="3025"/>
                  </a:lnTo>
                  <a:lnTo>
                    <a:pt x="2134" y="609"/>
                  </a:lnTo>
                  <a:lnTo>
                    <a:pt x="2131" y="577"/>
                  </a:lnTo>
                  <a:lnTo>
                    <a:pt x="2122" y="547"/>
                  </a:lnTo>
                  <a:lnTo>
                    <a:pt x="2107" y="520"/>
                  </a:lnTo>
                  <a:lnTo>
                    <a:pt x="2087" y="496"/>
                  </a:lnTo>
                  <a:lnTo>
                    <a:pt x="2064" y="477"/>
                  </a:lnTo>
                  <a:lnTo>
                    <a:pt x="2036" y="462"/>
                  </a:lnTo>
                  <a:lnTo>
                    <a:pt x="2006" y="453"/>
                  </a:lnTo>
                  <a:lnTo>
                    <a:pt x="1974" y="449"/>
                  </a:lnTo>
                  <a:lnTo>
                    <a:pt x="1821" y="449"/>
                  </a:lnTo>
                  <a:lnTo>
                    <a:pt x="1821" y="829"/>
                  </a:lnTo>
                  <a:lnTo>
                    <a:pt x="1818" y="862"/>
                  </a:lnTo>
                  <a:lnTo>
                    <a:pt x="1809" y="894"/>
                  </a:lnTo>
                  <a:lnTo>
                    <a:pt x="1795" y="923"/>
                  </a:lnTo>
                  <a:lnTo>
                    <a:pt x="1777" y="948"/>
                  </a:lnTo>
                  <a:lnTo>
                    <a:pt x="1755" y="971"/>
                  </a:lnTo>
                  <a:lnTo>
                    <a:pt x="1729" y="989"/>
                  </a:lnTo>
                  <a:lnTo>
                    <a:pt x="1700" y="1003"/>
                  </a:lnTo>
                  <a:lnTo>
                    <a:pt x="1668" y="1011"/>
                  </a:lnTo>
                  <a:lnTo>
                    <a:pt x="1635" y="1014"/>
                  </a:lnTo>
                  <a:lnTo>
                    <a:pt x="712" y="1014"/>
                  </a:lnTo>
                  <a:lnTo>
                    <a:pt x="679" y="1011"/>
                  </a:lnTo>
                  <a:lnTo>
                    <a:pt x="647" y="1003"/>
                  </a:lnTo>
                  <a:lnTo>
                    <a:pt x="618" y="989"/>
                  </a:lnTo>
                  <a:lnTo>
                    <a:pt x="592" y="971"/>
                  </a:lnTo>
                  <a:lnTo>
                    <a:pt x="570" y="948"/>
                  </a:lnTo>
                  <a:lnTo>
                    <a:pt x="552" y="923"/>
                  </a:lnTo>
                  <a:lnTo>
                    <a:pt x="538" y="894"/>
                  </a:lnTo>
                  <a:lnTo>
                    <a:pt x="529" y="862"/>
                  </a:lnTo>
                  <a:lnTo>
                    <a:pt x="526" y="829"/>
                  </a:lnTo>
                  <a:lnTo>
                    <a:pt x="526" y="449"/>
                  </a:lnTo>
                  <a:lnTo>
                    <a:pt x="373" y="449"/>
                  </a:lnTo>
                  <a:close/>
                  <a:moveTo>
                    <a:pt x="1174" y="73"/>
                  </a:moveTo>
                  <a:lnTo>
                    <a:pt x="1152" y="75"/>
                  </a:lnTo>
                  <a:lnTo>
                    <a:pt x="1132" y="84"/>
                  </a:lnTo>
                  <a:lnTo>
                    <a:pt x="1116" y="96"/>
                  </a:lnTo>
                  <a:lnTo>
                    <a:pt x="1104" y="112"/>
                  </a:lnTo>
                  <a:lnTo>
                    <a:pt x="1096" y="131"/>
                  </a:lnTo>
                  <a:lnTo>
                    <a:pt x="1093" y="153"/>
                  </a:lnTo>
                  <a:lnTo>
                    <a:pt x="1096" y="174"/>
                  </a:lnTo>
                  <a:lnTo>
                    <a:pt x="1104" y="193"/>
                  </a:lnTo>
                  <a:lnTo>
                    <a:pt x="1116" y="209"/>
                  </a:lnTo>
                  <a:lnTo>
                    <a:pt x="1132" y="222"/>
                  </a:lnTo>
                  <a:lnTo>
                    <a:pt x="1152" y="230"/>
                  </a:lnTo>
                  <a:lnTo>
                    <a:pt x="1174" y="234"/>
                  </a:lnTo>
                  <a:lnTo>
                    <a:pt x="1195" y="230"/>
                  </a:lnTo>
                  <a:lnTo>
                    <a:pt x="1215" y="222"/>
                  </a:lnTo>
                  <a:lnTo>
                    <a:pt x="1231" y="209"/>
                  </a:lnTo>
                  <a:lnTo>
                    <a:pt x="1244" y="193"/>
                  </a:lnTo>
                  <a:lnTo>
                    <a:pt x="1251" y="174"/>
                  </a:lnTo>
                  <a:lnTo>
                    <a:pt x="1254" y="153"/>
                  </a:lnTo>
                  <a:lnTo>
                    <a:pt x="1251" y="131"/>
                  </a:lnTo>
                  <a:lnTo>
                    <a:pt x="1244" y="112"/>
                  </a:lnTo>
                  <a:lnTo>
                    <a:pt x="1231" y="96"/>
                  </a:lnTo>
                  <a:lnTo>
                    <a:pt x="1215" y="84"/>
                  </a:lnTo>
                  <a:lnTo>
                    <a:pt x="1195" y="75"/>
                  </a:lnTo>
                  <a:lnTo>
                    <a:pt x="1174" y="73"/>
                  </a:lnTo>
                  <a:close/>
                  <a:moveTo>
                    <a:pt x="989" y="0"/>
                  </a:moveTo>
                  <a:lnTo>
                    <a:pt x="1358" y="0"/>
                  </a:lnTo>
                  <a:lnTo>
                    <a:pt x="1390" y="3"/>
                  </a:lnTo>
                  <a:lnTo>
                    <a:pt x="1421" y="12"/>
                  </a:lnTo>
                  <a:lnTo>
                    <a:pt x="1449" y="27"/>
                  </a:lnTo>
                  <a:lnTo>
                    <a:pt x="1472" y="47"/>
                  </a:lnTo>
                  <a:lnTo>
                    <a:pt x="1493" y="71"/>
                  </a:lnTo>
                  <a:lnTo>
                    <a:pt x="1507" y="98"/>
                  </a:lnTo>
                  <a:lnTo>
                    <a:pt x="1516" y="128"/>
                  </a:lnTo>
                  <a:lnTo>
                    <a:pt x="1519" y="161"/>
                  </a:lnTo>
                  <a:lnTo>
                    <a:pt x="1519" y="238"/>
                  </a:lnTo>
                  <a:lnTo>
                    <a:pt x="1974" y="238"/>
                  </a:lnTo>
                  <a:lnTo>
                    <a:pt x="2021" y="241"/>
                  </a:lnTo>
                  <a:lnTo>
                    <a:pt x="2066" y="250"/>
                  </a:lnTo>
                  <a:lnTo>
                    <a:pt x="2109" y="262"/>
                  </a:lnTo>
                  <a:lnTo>
                    <a:pt x="2149" y="281"/>
                  </a:lnTo>
                  <a:lnTo>
                    <a:pt x="2187" y="304"/>
                  </a:lnTo>
                  <a:lnTo>
                    <a:pt x="2222" y="331"/>
                  </a:lnTo>
                  <a:lnTo>
                    <a:pt x="2253" y="362"/>
                  </a:lnTo>
                  <a:lnTo>
                    <a:pt x="2281" y="397"/>
                  </a:lnTo>
                  <a:lnTo>
                    <a:pt x="2303" y="435"/>
                  </a:lnTo>
                  <a:lnTo>
                    <a:pt x="2323" y="475"/>
                  </a:lnTo>
                  <a:lnTo>
                    <a:pt x="2336" y="518"/>
                  </a:lnTo>
                  <a:lnTo>
                    <a:pt x="2344" y="562"/>
                  </a:lnTo>
                  <a:lnTo>
                    <a:pt x="2347" y="609"/>
                  </a:lnTo>
                  <a:lnTo>
                    <a:pt x="2347" y="3025"/>
                  </a:lnTo>
                  <a:lnTo>
                    <a:pt x="2344" y="3070"/>
                  </a:lnTo>
                  <a:lnTo>
                    <a:pt x="2335" y="3115"/>
                  </a:lnTo>
                  <a:lnTo>
                    <a:pt x="2323" y="3159"/>
                  </a:lnTo>
                  <a:lnTo>
                    <a:pt x="2303" y="3198"/>
                  </a:lnTo>
                  <a:lnTo>
                    <a:pt x="2281" y="3236"/>
                  </a:lnTo>
                  <a:lnTo>
                    <a:pt x="2253" y="3270"/>
                  </a:lnTo>
                  <a:lnTo>
                    <a:pt x="2222" y="3301"/>
                  </a:lnTo>
                  <a:lnTo>
                    <a:pt x="2187" y="3329"/>
                  </a:lnTo>
                  <a:lnTo>
                    <a:pt x="2149" y="3352"/>
                  </a:lnTo>
                  <a:lnTo>
                    <a:pt x="2109" y="3370"/>
                  </a:lnTo>
                  <a:lnTo>
                    <a:pt x="2066" y="3384"/>
                  </a:lnTo>
                  <a:lnTo>
                    <a:pt x="2021" y="3393"/>
                  </a:lnTo>
                  <a:lnTo>
                    <a:pt x="1974" y="3396"/>
                  </a:lnTo>
                  <a:lnTo>
                    <a:pt x="373" y="3396"/>
                  </a:lnTo>
                  <a:lnTo>
                    <a:pt x="326" y="3393"/>
                  </a:lnTo>
                  <a:lnTo>
                    <a:pt x="281" y="3384"/>
                  </a:lnTo>
                  <a:lnTo>
                    <a:pt x="238" y="3370"/>
                  </a:lnTo>
                  <a:lnTo>
                    <a:pt x="198" y="3352"/>
                  </a:lnTo>
                  <a:lnTo>
                    <a:pt x="160" y="3329"/>
                  </a:lnTo>
                  <a:lnTo>
                    <a:pt x="125" y="3301"/>
                  </a:lnTo>
                  <a:lnTo>
                    <a:pt x="94" y="3270"/>
                  </a:lnTo>
                  <a:lnTo>
                    <a:pt x="66" y="3236"/>
                  </a:lnTo>
                  <a:lnTo>
                    <a:pt x="44" y="3198"/>
                  </a:lnTo>
                  <a:lnTo>
                    <a:pt x="25" y="3159"/>
                  </a:lnTo>
                  <a:lnTo>
                    <a:pt x="11" y="3115"/>
                  </a:lnTo>
                  <a:lnTo>
                    <a:pt x="3" y="3070"/>
                  </a:lnTo>
                  <a:lnTo>
                    <a:pt x="0" y="3025"/>
                  </a:lnTo>
                  <a:lnTo>
                    <a:pt x="0" y="609"/>
                  </a:lnTo>
                  <a:lnTo>
                    <a:pt x="3" y="562"/>
                  </a:lnTo>
                  <a:lnTo>
                    <a:pt x="11" y="518"/>
                  </a:lnTo>
                  <a:lnTo>
                    <a:pt x="25" y="475"/>
                  </a:lnTo>
                  <a:lnTo>
                    <a:pt x="44" y="435"/>
                  </a:lnTo>
                  <a:lnTo>
                    <a:pt x="66" y="397"/>
                  </a:lnTo>
                  <a:lnTo>
                    <a:pt x="94" y="362"/>
                  </a:lnTo>
                  <a:lnTo>
                    <a:pt x="125" y="331"/>
                  </a:lnTo>
                  <a:lnTo>
                    <a:pt x="160" y="304"/>
                  </a:lnTo>
                  <a:lnTo>
                    <a:pt x="198" y="281"/>
                  </a:lnTo>
                  <a:lnTo>
                    <a:pt x="238" y="262"/>
                  </a:lnTo>
                  <a:lnTo>
                    <a:pt x="281" y="250"/>
                  </a:lnTo>
                  <a:lnTo>
                    <a:pt x="326" y="241"/>
                  </a:lnTo>
                  <a:lnTo>
                    <a:pt x="373" y="238"/>
                  </a:lnTo>
                  <a:lnTo>
                    <a:pt x="828" y="238"/>
                  </a:lnTo>
                  <a:lnTo>
                    <a:pt x="828" y="161"/>
                  </a:lnTo>
                  <a:lnTo>
                    <a:pt x="831" y="128"/>
                  </a:lnTo>
                  <a:lnTo>
                    <a:pt x="840" y="98"/>
                  </a:lnTo>
                  <a:lnTo>
                    <a:pt x="855" y="71"/>
                  </a:lnTo>
                  <a:lnTo>
                    <a:pt x="875" y="47"/>
                  </a:lnTo>
                  <a:lnTo>
                    <a:pt x="898" y="27"/>
                  </a:lnTo>
                  <a:lnTo>
                    <a:pt x="926" y="12"/>
                  </a:lnTo>
                  <a:lnTo>
                    <a:pt x="956" y="3"/>
                  </a:lnTo>
                  <a:lnTo>
                    <a:pt x="989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92">
              <a:extLst>
                <a:ext uri="{FF2B5EF4-FFF2-40B4-BE49-F238E27FC236}">
                  <a16:creationId xmlns:a16="http://schemas.microsoft.com/office/drawing/2014/main" id="{0BDF7109-C79B-0562-57A2-2DC41C8971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041401" y="2757488"/>
              <a:ext cx="96838" cy="79375"/>
            </a:xfrm>
            <a:custGeom>
              <a:avLst/>
              <a:gdLst>
                <a:gd name="T0" fmla="*/ 75 w 546"/>
                <a:gd name="T1" fmla="*/ 69 h 453"/>
                <a:gd name="T2" fmla="*/ 60 w 546"/>
                <a:gd name="T3" fmla="*/ 83 h 453"/>
                <a:gd name="T4" fmla="*/ 58 w 546"/>
                <a:gd name="T5" fmla="*/ 367 h 453"/>
                <a:gd name="T6" fmla="*/ 66 w 546"/>
                <a:gd name="T7" fmla="*/ 388 h 453"/>
                <a:gd name="T8" fmla="*/ 86 w 546"/>
                <a:gd name="T9" fmla="*/ 395 h 453"/>
                <a:gd name="T10" fmla="*/ 345 w 546"/>
                <a:gd name="T11" fmla="*/ 393 h 453"/>
                <a:gd name="T12" fmla="*/ 361 w 546"/>
                <a:gd name="T13" fmla="*/ 378 h 453"/>
                <a:gd name="T14" fmla="*/ 363 w 546"/>
                <a:gd name="T15" fmla="*/ 290 h 453"/>
                <a:gd name="T16" fmla="*/ 292 w 546"/>
                <a:gd name="T17" fmla="*/ 372 h 453"/>
                <a:gd name="T18" fmla="*/ 265 w 546"/>
                <a:gd name="T19" fmla="*/ 380 h 453"/>
                <a:gd name="T20" fmla="*/ 249 w 546"/>
                <a:gd name="T21" fmla="*/ 379 h 453"/>
                <a:gd name="T22" fmla="*/ 225 w 546"/>
                <a:gd name="T23" fmla="*/ 366 h 453"/>
                <a:gd name="T24" fmla="*/ 91 w 546"/>
                <a:gd name="T25" fmla="*/ 238 h 453"/>
                <a:gd name="T26" fmla="*/ 84 w 546"/>
                <a:gd name="T27" fmla="*/ 206 h 453"/>
                <a:gd name="T28" fmla="*/ 98 w 546"/>
                <a:gd name="T29" fmla="*/ 176 h 453"/>
                <a:gd name="T30" fmla="*/ 127 w 546"/>
                <a:gd name="T31" fmla="*/ 160 h 453"/>
                <a:gd name="T32" fmla="*/ 159 w 546"/>
                <a:gd name="T33" fmla="*/ 164 h 453"/>
                <a:gd name="T34" fmla="*/ 218 w 546"/>
                <a:gd name="T35" fmla="*/ 214 h 453"/>
                <a:gd name="T36" fmla="*/ 248 w 546"/>
                <a:gd name="T37" fmla="*/ 228 h 453"/>
                <a:gd name="T38" fmla="*/ 279 w 546"/>
                <a:gd name="T39" fmla="*/ 221 h 453"/>
                <a:gd name="T40" fmla="*/ 363 w 546"/>
                <a:gd name="T41" fmla="*/ 125 h 453"/>
                <a:gd name="T42" fmla="*/ 361 w 546"/>
                <a:gd name="T43" fmla="*/ 83 h 453"/>
                <a:gd name="T44" fmla="*/ 345 w 546"/>
                <a:gd name="T45" fmla="*/ 69 h 453"/>
                <a:gd name="T46" fmla="*/ 86 w 546"/>
                <a:gd name="T47" fmla="*/ 66 h 453"/>
                <a:gd name="T48" fmla="*/ 513 w 546"/>
                <a:gd name="T49" fmla="*/ 4 h 453"/>
                <a:gd name="T50" fmla="*/ 539 w 546"/>
                <a:gd name="T51" fmla="*/ 25 h 453"/>
                <a:gd name="T52" fmla="*/ 546 w 546"/>
                <a:gd name="T53" fmla="*/ 57 h 453"/>
                <a:gd name="T54" fmla="*/ 533 w 546"/>
                <a:gd name="T55" fmla="*/ 87 h 453"/>
                <a:gd name="T56" fmla="*/ 421 w 546"/>
                <a:gd name="T57" fmla="*/ 367 h 453"/>
                <a:gd name="T58" fmla="*/ 409 w 546"/>
                <a:gd name="T59" fmla="*/ 410 h 453"/>
                <a:gd name="T60" fmla="*/ 378 w 546"/>
                <a:gd name="T61" fmla="*/ 441 h 453"/>
                <a:gd name="T62" fmla="*/ 335 w 546"/>
                <a:gd name="T63" fmla="*/ 453 h 453"/>
                <a:gd name="T64" fmla="*/ 63 w 546"/>
                <a:gd name="T65" fmla="*/ 449 h 453"/>
                <a:gd name="T66" fmla="*/ 26 w 546"/>
                <a:gd name="T67" fmla="*/ 428 h 453"/>
                <a:gd name="T68" fmla="*/ 3 w 546"/>
                <a:gd name="T69" fmla="*/ 390 h 453"/>
                <a:gd name="T70" fmla="*/ 0 w 546"/>
                <a:gd name="T71" fmla="*/ 95 h 453"/>
                <a:gd name="T72" fmla="*/ 12 w 546"/>
                <a:gd name="T73" fmla="*/ 52 h 453"/>
                <a:gd name="T74" fmla="*/ 43 w 546"/>
                <a:gd name="T75" fmla="*/ 21 h 453"/>
                <a:gd name="T76" fmla="*/ 86 w 546"/>
                <a:gd name="T77" fmla="*/ 9 h 453"/>
                <a:gd name="T78" fmla="*/ 356 w 546"/>
                <a:gd name="T79" fmla="*/ 11 h 453"/>
                <a:gd name="T80" fmla="*/ 391 w 546"/>
                <a:gd name="T81" fmla="*/ 30 h 453"/>
                <a:gd name="T82" fmla="*/ 415 w 546"/>
                <a:gd name="T83" fmla="*/ 63 h 453"/>
                <a:gd name="T84" fmla="*/ 465 w 546"/>
                <a:gd name="T85" fmla="*/ 8 h 453"/>
                <a:gd name="T86" fmla="*/ 497 w 546"/>
                <a:gd name="T87" fmla="*/ 0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6" h="453">
                  <a:moveTo>
                    <a:pt x="86" y="66"/>
                  </a:moveTo>
                  <a:lnTo>
                    <a:pt x="75" y="69"/>
                  </a:lnTo>
                  <a:lnTo>
                    <a:pt x="66" y="75"/>
                  </a:lnTo>
                  <a:lnTo>
                    <a:pt x="60" y="83"/>
                  </a:lnTo>
                  <a:lnTo>
                    <a:pt x="58" y="95"/>
                  </a:lnTo>
                  <a:lnTo>
                    <a:pt x="58" y="367"/>
                  </a:lnTo>
                  <a:lnTo>
                    <a:pt x="60" y="378"/>
                  </a:lnTo>
                  <a:lnTo>
                    <a:pt x="66" y="388"/>
                  </a:lnTo>
                  <a:lnTo>
                    <a:pt x="75" y="393"/>
                  </a:lnTo>
                  <a:lnTo>
                    <a:pt x="86" y="395"/>
                  </a:lnTo>
                  <a:lnTo>
                    <a:pt x="335" y="395"/>
                  </a:lnTo>
                  <a:lnTo>
                    <a:pt x="345" y="393"/>
                  </a:lnTo>
                  <a:lnTo>
                    <a:pt x="355" y="388"/>
                  </a:lnTo>
                  <a:lnTo>
                    <a:pt x="361" y="378"/>
                  </a:lnTo>
                  <a:lnTo>
                    <a:pt x="363" y="367"/>
                  </a:lnTo>
                  <a:lnTo>
                    <a:pt x="363" y="290"/>
                  </a:lnTo>
                  <a:lnTo>
                    <a:pt x="302" y="362"/>
                  </a:lnTo>
                  <a:lnTo>
                    <a:pt x="292" y="372"/>
                  </a:lnTo>
                  <a:lnTo>
                    <a:pt x="279" y="378"/>
                  </a:lnTo>
                  <a:lnTo>
                    <a:pt x="265" y="380"/>
                  </a:lnTo>
                  <a:lnTo>
                    <a:pt x="262" y="380"/>
                  </a:lnTo>
                  <a:lnTo>
                    <a:pt x="249" y="379"/>
                  </a:lnTo>
                  <a:lnTo>
                    <a:pt x="236" y="374"/>
                  </a:lnTo>
                  <a:lnTo>
                    <a:pt x="225" y="366"/>
                  </a:lnTo>
                  <a:lnTo>
                    <a:pt x="101" y="252"/>
                  </a:lnTo>
                  <a:lnTo>
                    <a:pt x="91" y="238"/>
                  </a:lnTo>
                  <a:lnTo>
                    <a:pt x="85" y="223"/>
                  </a:lnTo>
                  <a:lnTo>
                    <a:pt x="84" y="206"/>
                  </a:lnTo>
                  <a:lnTo>
                    <a:pt x="89" y="191"/>
                  </a:lnTo>
                  <a:lnTo>
                    <a:pt x="98" y="176"/>
                  </a:lnTo>
                  <a:lnTo>
                    <a:pt x="112" y="166"/>
                  </a:lnTo>
                  <a:lnTo>
                    <a:pt x="127" y="160"/>
                  </a:lnTo>
                  <a:lnTo>
                    <a:pt x="143" y="160"/>
                  </a:lnTo>
                  <a:lnTo>
                    <a:pt x="159" y="164"/>
                  </a:lnTo>
                  <a:lnTo>
                    <a:pt x="173" y="174"/>
                  </a:lnTo>
                  <a:lnTo>
                    <a:pt x="218" y="214"/>
                  </a:lnTo>
                  <a:lnTo>
                    <a:pt x="232" y="224"/>
                  </a:lnTo>
                  <a:lnTo>
                    <a:pt x="248" y="228"/>
                  </a:lnTo>
                  <a:lnTo>
                    <a:pt x="264" y="227"/>
                  </a:lnTo>
                  <a:lnTo>
                    <a:pt x="279" y="221"/>
                  </a:lnTo>
                  <a:lnTo>
                    <a:pt x="292" y="210"/>
                  </a:lnTo>
                  <a:lnTo>
                    <a:pt x="363" y="125"/>
                  </a:lnTo>
                  <a:lnTo>
                    <a:pt x="363" y="95"/>
                  </a:lnTo>
                  <a:lnTo>
                    <a:pt x="361" y="83"/>
                  </a:lnTo>
                  <a:lnTo>
                    <a:pt x="355" y="75"/>
                  </a:lnTo>
                  <a:lnTo>
                    <a:pt x="345" y="69"/>
                  </a:lnTo>
                  <a:lnTo>
                    <a:pt x="335" y="66"/>
                  </a:lnTo>
                  <a:lnTo>
                    <a:pt x="86" y="66"/>
                  </a:lnTo>
                  <a:close/>
                  <a:moveTo>
                    <a:pt x="497" y="0"/>
                  </a:moveTo>
                  <a:lnTo>
                    <a:pt x="513" y="4"/>
                  </a:lnTo>
                  <a:lnTo>
                    <a:pt x="527" y="12"/>
                  </a:lnTo>
                  <a:lnTo>
                    <a:pt x="539" y="25"/>
                  </a:lnTo>
                  <a:lnTo>
                    <a:pt x="545" y="41"/>
                  </a:lnTo>
                  <a:lnTo>
                    <a:pt x="546" y="57"/>
                  </a:lnTo>
                  <a:lnTo>
                    <a:pt x="543" y="73"/>
                  </a:lnTo>
                  <a:lnTo>
                    <a:pt x="533" y="87"/>
                  </a:lnTo>
                  <a:lnTo>
                    <a:pt x="421" y="221"/>
                  </a:lnTo>
                  <a:lnTo>
                    <a:pt x="421" y="367"/>
                  </a:lnTo>
                  <a:lnTo>
                    <a:pt x="418" y="390"/>
                  </a:lnTo>
                  <a:lnTo>
                    <a:pt x="409" y="410"/>
                  </a:lnTo>
                  <a:lnTo>
                    <a:pt x="396" y="428"/>
                  </a:lnTo>
                  <a:lnTo>
                    <a:pt x="378" y="441"/>
                  </a:lnTo>
                  <a:lnTo>
                    <a:pt x="357" y="449"/>
                  </a:lnTo>
                  <a:lnTo>
                    <a:pt x="335" y="453"/>
                  </a:lnTo>
                  <a:lnTo>
                    <a:pt x="86" y="453"/>
                  </a:lnTo>
                  <a:lnTo>
                    <a:pt x="63" y="449"/>
                  </a:lnTo>
                  <a:lnTo>
                    <a:pt x="43" y="441"/>
                  </a:lnTo>
                  <a:lnTo>
                    <a:pt x="26" y="428"/>
                  </a:lnTo>
                  <a:lnTo>
                    <a:pt x="12" y="410"/>
                  </a:lnTo>
                  <a:lnTo>
                    <a:pt x="3" y="390"/>
                  </a:lnTo>
                  <a:lnTo>
                    <a:pt x="0" y="367"/>
                  </a:lnTo>
                  <a:lnTo>
                    <a:pt x="0" y="95"/>
                  </a:lnTo>
                  <a:lnTo>
                    <a:pt x="3" y="72"/>
                  </a:lnTo>
                  <a:lnTo>
                    <a:pt x="12" y="52"/>
                  </a:lnTo>
                  <a:lnTo>
                    <a:pt x="26" y="33"/>
                  </a:lnTo>
                  <a:lnTo>
                    <a:pt x="43" y="21"/>
                  </a:lnTo>
                  <a:lnTo>
                    <a:pt x="63" y="12"/>
                  </a:lnTo>
                  <a:lnTo>
                    <a:pt x="86" y="9"/>
                  </a:lnTo>
                  <a:lnTo>
                    <a:pt x="335" y="9"/>
                  </a:lnTo>
                  <a:lnTo>
                    <a:pt x="356" y="11"/>
                  </a:lnTo>
                  <a:lnTo>
                    <a:pt x="375" y="19"/>
                  </a:lnTo>
                  <a:lnTo>
                    <a:pt x="391" y="30"/>
                  </a:lnTo>
                  <a:lnTo>
                    <a:pt x="405" y="45"/>
                  </a:lnTo>
                  <a:lnTo>
                    <a:pt x="415" y="63"/>
                  </a:lnTo>
                  <a:lnTo>
                    <a:pt x="452" y="20"/>
                  </a:lnTo>
                  <a:lnTo>
                    <a:pt x="465" y="8"/>
                  </a:lnTo>
                  <a:lnTo>
                    <a:pt x="480" y="2"/>
                  </a:lnTo>
                  <a:lnTo>
                    <a:pt x="49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93">
              <a:extLst>
                <a:ext uri="{FF2B5EF4-FFF2-40B4-BE49-F238E27FC236}">
                  <a16:creationId xmlns:a16="http://schemas.microsoft.com/office/drawing/2014/main" id="{F97623F3-A1F4-69CF-641C-B5151284B4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041401" y="2859088"/>
              <a:ext cx="96838" cy="82550"/>
            </a:xfrm>
            <a:custGeom>
              <a:avLst/>
              <a:gdLst>
                <a:gd name="T0" fmla="*/ 75 w 546"/>
                <a:gd name="T1" fmla="*/ 80 h 465"/>
                <a:gd name="T2" fmla="*/ 60 w 546"/>
                <a:gd name="T3" fmla="*/ 96 h 465"/>
                <a:gd name="T4" fmla="*/ 58 w 546"/>
                <a:gd name="T5" fmla="*/ 379 h 465"/>
                <a:gd name="T6" fmla="*/ 66 w 546"/>
                <a:gd name="T7" fmla="*/ 399 h 465"/>
                <a:gd name="T8" fmla="*/ 86 w 546"/>
                <a:gd name="T9" fmla="*/ 407 h 465"/>
                <a:gd name="T10" fmla="*/ 345 w 546"/>
                <a:gd name="T11" fmla="*/ 405 h 465"/>
                <a:gd name="T12" fmla="*/ 361 w 546"/>
                <a:gd name="T13" fmla="*/ 390 h 465"/>
                <a:gd name="T14" fmla="*/ 363 w 546"/>
                <a:gd name="T15" fmla="*/ 289 h 465"/>
                <a:gd name="T16" fmla="*/ 292 w 546"/>
                <a:gd name="T17" fmla="*/ 370 h 465"/>
                <a:gd name="T18" fmla="*/ 265 w 546"/>
                <a:gd name="T19" fmla="*/ 380 h 465"/>
                <a:gd name="T20" fmla="*/ 249 w 546"/>
                <a:gd name="T21" fmla="*/ 378 h 465"/>
                <a:gd name="T22" fmla="*/ 225 w 546"/>
                <a:gd name="T23" fmla="*/ 366 h 465"/>
                <a:gd name="T24" fmla="*/ 91 w 546"/>
                <a:gd name="T25" fmla="*/ 237 h 465"/>
                <a:gd name="T26" fmla="*/ 84 w 546"/>
                <a:gd name="T27" fmla="*/ 205 h 465"/>
                <a:gd name="T28" fmla="*/ 98 w 546"/>
                <a:gd name="T29" fmla="*/ 176 h 465"/>
                <a:gd name="T30" fmla="*/ 127 w 546"/>
                <a:gd name="T31" fmla="*/ 160 h 465"/>
                <a:gd name="T32" fmla="*/ 159 w 546"/>
                <a:gd name="T33" fmla="*/ 164 h 465"/>
                <a:gd name="T34" fmla="*/ 218 w 546"/>
                <a:gd name="T35" fmla="*/ 214 h 465"/>
                <a:gd name="T36" fmla="*/ 248 w 546"/>
                <a:gd name="T37" fmla="*/ 228 h 465"/>
                <a:gd name="T38" fmla="*/ 279 w 546"/>
                <a:gd name="T39" fmla="*/ 220 h 465"/>
                <a:gd name="T40" fmla="*/ 363 w 546"/>
                <a:gd name="T41" fmla="*/ 123 h 465"/>
                <a:gd name="T42" fmla="*/ 361 w 546"/>
                <a:gd name="T43" fmla="*/ 96 h 465"/>
                <a:gd name="T44" fmla="*/ 345 w 546"/>
                <a:gd name="T45" fmla="*/ 80 h 465"/>
                <a:gd name="T46" fmla="*/ 86 w 546"/>
                <a:gd name="T47" fmla="*/ 78 h 465"/>
                <a:gd name="T48" fmla="*/ 513 w 546"/>
                <a:gd name="T49" fmla="*/ 3 h 465"/>
                <a:gd name="T50" fmla="*/ 539 w 546"/>
                <a:gd name="T51" fmla="*/ 25 h 465"/>
                <a:gd name="T52" fmla="*/ 546 w 546"/>
                <a:gd name="T53" fmla="*/ 55 h 465"/>
                <a:gd name="T54" fmla="*/ 533 w 546"/>
                <a:gd name="T55" fmla="*/ 86 h 465"/>
                <a:gd name="T56" fmla="*/ 421 w 546"/>
                <a:gd name="T57" fmla="*/ 379 h 465"/>
                <a:gd name="T58" fmla="*/ 409 w 546"/>
                <a:gd name="T59" fmla="*/ 422 h 465"/>
                <a:gd name="T60" fmla="*/ 378 w 546"/>
                <a:gd name="T61" fmla="*/ 453 h 465"/>
                <a:gd name="T62" fmla="*/ 335 w 546"/>
                <a:gd name="T63" fmla="*/ 465 h 465"/>
                <a:gd name="T64" fmla="*/ 63 w 546"/>
                <a:gd name="T65" fmla="*/ 462 h 465"/>
                <a:gd name="T66" fmla="*/ 26 w 546"/>
                <a:gd name="T67" fmla="*/ 439 h 465"/>
                <a:gd name="T68" fmla="*/ 3 w 546"/>
                <a:gd name="T69" fmla="*/ 402 h 465"/>
                <a:gd name="T70" fmla="*/ 0 w 546"/>
                <a:gd name="T71" fmla="*/ 106 h 465"/>
                <a:gd name="T72" fmla="*/ 12 w 546"/>
                <a:gd name="T73" fmla="*/ 63 h 465"/>
                <a:gd name="T74" fmla="*/ 43 w 546"/>
                <a:gd name="T75" fmla="*/ 32 h 465"/>
                <a:gd name="T76" fmla="*/ 86 w 546"/>
                <a:gd name="T77" fmla="*/ 20 h 465"/>
                <a:gd name="T78" fmla="*/ 354 w 546"/>
                <a:gd name="T79" fmla="*/ 22 h 465"/>
                <a:gd name="T80" fmla="*/ 387 w 546"/>
                <a:gd name="T81" fmla="*/ 39 h 465"/>
                <a:gd name="T82" fmla="*/ 410 w 546"/>
                <a:gd name="T83" fmla="*/ 67 h 465"/>
                <a:gd name="T84" fmla="*/ 465 w 546"/>
                <a:gd name="T85" fmla="*/ 7 h 465"/>
                <a:gd name="T86" fmla="*/ 497 w 546"/>
                <a:gd name="T87" fmla="*/ 0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6" h="465">
                  <a:moveTo>
                    <a:pt x="86" y="78"/>
                  </a:moveTo>
                  <a:lnTo>
                    <a:pt x="75" y="80"/>
                  </a:lnTo>
                  <a:lnTo>
                    <a:pt x="66" y="86"/>
                  </a:lnTo>
                  <a:lnTo>
                    <a:pt x="60" y="96"/>
                  </a:lnTo>
                  <a:lnTo>
                    <a:pt x="58" y="106"/>
                  </a:lnTo>
                  <a:lnTo>
                    <a:pt x="58" y="379"/>
                  </a:lnTo>
                  <a:lnTo>
                    <a:pt x="60" y="390"/>
                  </a:lnTo>
                  <a:lnTo>
                    <a:pt x="66" y="399"/>
                  </a:lnTo>
                  <a:lnTo>
                    <a:pt x="75" y="405"/>
                  </a:lnTo>
                  <a:lnTo>
                    <a:pt x="86" y="407"/>
                  </a:lnTo>
                  <a:lnTo>
                    <a:pt x="335" y="407"/>
                  </a:lnTo>
                  <a:lnTo>
                    <a:pt x="345" y="405"/>
                  </a:lnTo>
                  <a:lnTo>
                    <a:pt x="355" y="399"/>
                  </a:lnTo>
                  <a:lnTo>
                    <a:pt x="361" y="390"/>
                  </a:lnTo>
                  <a:lnTo>
                    <a:pt x="363" y="379"/>
                  </a:lnTo>
                  <a:lnTo>
                    <a:pt x="363" y="289"/>
                  </a:lnTo>
                  <a:lnTo>
                    <a:pt x="302" y="361"/>
                  </a:lnTo>
                  <a:lnTo>
                    <a:pt x="292" y="370"/>
                  </a:lnTo>
                  <a:lnTo>
                    <a:pt x="279" y="377"/>
                  </a:lnTo>
                  <a:lnTo>
                    <a:pt x="265" y="380"/>
                  </a:lnTo>
                  <a:lnTo>
                    <a:pt x="262" y="380"/>
                  </a:lnTo>
                  <a:lnTo>
                    <a:pt x="249" y="378"/>
                  </a:lnTo>
                  <a:lnTo>
                    <a:pt x="236" y="373"/>
                  </a:lnTo>
                  <a:lnTo>
                    <a:pt x="225" y="366"/>
                  </a:lnTo>
                  <a:lnTo>
                    <a:pt x="101" y="251"/>
                  </a:lnTo>
                  <a:lnTo>
                    <a:pt x="91" y="237"/>
                  </a:lnTo>
                  <a:lnTo>
                    <a:pt x="85" y="221"/>
                  </a:lnTo>
                  <a:lnTo>
                    <a:pt x="84" y="205"/>
                  </a:lnTo>
                  <a:lnTo>
                    <a:pt x="89" y="189"/>
                  </a:lnTo>
                  <a:lnTo>
                    <a:pt x="98" y="176"/>
                  </a:lnTo>
                  <a:lnTo>
                    <a:pt x="112" y="165"/>
                  </a:lnTo>
                  <a:lnTo>
                    <a:pt x="127" y="160"/>
                  </a:lnTo>
                  <a:lnTo>
                    <a:pt x="143" y="159"/>
                  </a:lnTo>
                  <a:lnTo>
                    <a:pt x="159" y="164"/>
                  </a:lnTo>
                  <a:lnTo>
                    <a:pt x="173" y="173"/>
                  </a:lnTo>
                  <a:lnTo>
                    <a:pt x="218" y="214"/>
                  </a:lnTo>
                  <a:lnTo>
                    <a:pt x="232" y="223"/>
                  </a:lnTo>
                  <a:lnTo>
                    <a:pt x="248" y="228"/>
                  </a:lnTo>
                  <a:lnTo>
                    <a:pt x="264" y="227"/>
                  </a:lnTo>
                  <a:lnTo>
                    <a:pt x="279" y="220"/>
                  </a:lnTo>
                  <a:lnTo>
                    <a:pt x="292" y="210"/>
                  </a:lnTo>
                  <a:lnTo>
                    <a:pt x="363" y="123"/>
                  </a:lnTo>
                  <a:lnTo>
                    <a:pt x="363" y="106"/>
                  </a:lnTo>
                  <a:lnTo>
                    <a:pt x="361" y="96"/>
                  </a:lnTo>
                  <a:lnTo>
                    <a:pt x="355" y="86"/>
                  </a:lnTo>
                  <a:lnTo>
                    <a:pt x="345" y="80"/>
                  </a:lnTo>
                  <a:lnTo>
                    <a:pt x="335" y="78"/>
                  </a:lnTo>
                  <a:lnTo>
                    <a:pt x="86" y="78"/>
                  </a:lnTo>
                  <a:close/>
                  <a:moveTo>
                    <a:pt x="497" y="0"/>
                  </a:moveTo>
                  <a:lnTo>
                    <a:pt x="513" y="3"/>
                  </a:lnTo>
                  <a:lnTo>
                    <a:pt x="527" y="12"/>
                  </a:lnTo>
                  <a:lnTo>
                    <a:pt x="539" y="25"/>
                  </a:lnTo>
                  <a:lnTo>
                    <a:pt x="545" y="39"/>
                  </a:lnTo>
                  <a:lnTo>
                    <a:pt x="546" y="55"/>
                  </a:lnTo>
                  <a:lnTo>
                    <a:pt x="543" y="72"/>
                  </a:lnTo>
                  <a:lnTo>
                    <a:pt x="533" y="86"/>
                  </a:lnTo>
                  <a:lnTo>
                    <a:pt x="421" y="221"/>
                  </a:lnTo>
                  <a:lnTo>
                    <a:pt x="421" y="379"/>
                  </a:lnTo>
                  <a:lnTo>
                    <a:pt x="418" y="402"/>
                  </a:lnTo>
                  <a:lnTo>
                    <a:pt x="409" y="422"/>
                  </a:lnTo>
                  <a:lnTo>
                    <a:pt x="396" y="439"/>
                  </a:lnTo>
                  <a:lnTo>
                    <a:pt x="378" y="453"/>
                  </a:lnTo>
                  <a:lnTo>
                    <a:pt x="357" y="462"/>
                  </a:lnTo>
                  <a:lnTo>
                    <a:pt x="335" y="465"/>
                  </a:lnTo>
                  <a:lnTo>
                    <a:pt x="86" y="465"/>
                  </a:lnTo>
                  <a:lnTo>
                    <a:pt x="63" y="462"/>
                  </a:lnTo>
                  <a:lnTo>
                    <a:pt x="43" y="453"/>
                  </a:lnTo>
                  <a:lnTo>
                    <a:pt x="26" y="439"/>
                  </a:lnTo>
                  <a:lnTo>
                    <a:pt x="12" y="422"/>
                  </a:lnTo>
                  <a:lnTo>
                    <a:pt x="3" y="402"/>
                  </a:lnTo>
                  <a:lnTo>
                    <a:pt x="0" y="379"/>
                  </a:lnTo>
                  <a:lnTo>
                    <a:pt x="0" y="106"/>
                  </a:lnTo>
                  <a:lnTo>
                    <a:pt x="3" y="84"/>
                  </a:lnTo>
                  <a:lnTo>
                    <a:pt x="12" y="63"/>
                  </a:lnTo>
                  <a:lnTo>
                    <a:pt x="26" y="46"/>
                  </a:lnTo>
                  <a:lnTo>
                    <a:pt x="43" y="32"/>
                  </a:lnTo>
                  <a:lnTo>
                    <a:pt x="63" y="23"/>
                  </a:lnTo>
                  <a:lnTo>
                    <a:pt x="86" y="20"/>
                  </a:lnTo>
                  <a:lnTo>
                    <a:pt x="335" y="20"/>
                  </a:lnTo>
                  <a:lnTo>
                    <a:pt x="354" y="22"/>
                  </a:lnTo>
                  <a:lnTo>
                    <a:pt x="372" y="29"/>
                  </a:lnTo>
                  <a:lnTo>
                    <a:pt x="387" y="39"/>
                  </a:lnTo>
                  <a:lnTo>
                    <a:pt x="401" y="52"/>
                  </a:lnTo>
                  <a:lnTo>
                    <a:pt x="410" y="67"/>
                  </a:lnTo>
                  <a:lnTo>
                    <a:pt x="452" y="18"/>
                  </a:lnTo>
                  <a:lnTo>
                    <a:pt x="465" y="7"/>
                  </a:lnTo>
                  <a:lnTo>
                    <a:pt x="480" y="1"/>
                  </a:lnTo>
                  <a:lnTo>
                    <a:pt x="49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94">
              <a:extLst>
                <a:ext uri="{FF2B5EF4-FFF2-40B4-BE49-F238E27FC236}">
                  <a16:creationId xmlns:a16="http://schemas.microsoft.com/office/drawing/2014/main" id="{D8255CCD-64E8-F198-9813-9266882849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041401" y="2962275"/>
              <a:ext cx="96838" cy="82550"/>
            </a:xfrm>
            <a:custGeom>
              <a:avLst/>
              <a:gdLst>
                <a:gd name="T0" fmla="*/ 75 w 546"/>
                <a:gd name="T1" fmla="*/ 85 h 470"/>
                <a:gd name="T2" fmla="*/ 60 w 546"/>
                <a:gd name="T3" fmla="*/ 101 h 470"/>
                <a:gd name="T4" fmla="*/ 58 w 546"/>
                <a:gd name="T5" fmla="*/ 384 h 470"/>
                <a:gd name="T6" fmla="*/ 66 w 546"/>
                <a:gd name="T7" fmla="*/ 404 h 470"/>
                <a:gd name="T8" fmla="*/ 86 w 546"/>
                <a:gd name="T9" fmla="*/ 412 h 470"/>
                <a:gd name="T10" fmla="*/ 345 w 546"/>
                <a:gd name="T11" fmla="*/ 410 h 470"/>
                <a:gd name="T12" fmla="*/ 361 w 546"/>
                <a:gd name="T13" fmla="*/ 395 h 470"/>
                <a:gd name="T14" fmla="*/ 363 w 546"/>
                <a:gd name="T15" fmla="*/ 289 h 470"/>
                <a:gd name="T16" fmla="*/ 292 w 546"/>
                <a:gd name="T17" fmla="*/ 371 h 470"/>
                <a:gd name="T18" fmla="*/ 265 w 546"/>
                <a:gd name="T19" fmla="*/ 379 h 470"/>
                <a:gd name="T20" fmla="*/ 262 w 546"/>
                <a:gd name="T21" fmla="*/ 381 h 470"/>
                <a:gd name="T22" fmla="*/ 236 w 546"/>
                <a:gd name="T23" fmla="*/ 373 h 470"/>
                <a:gd name="T24" fmla="*/ 101 w 546"/>
                <a:gd name="T25" fmla="*/ 251 h 470"/>
                <a:gd name="T26" fmla="*/ 85 w 546"/>
                <a:gd name="T27" fmla="*/ 222 h 470"/>
                <a:gd name="T28" fmla="*/ 89 w 546"/>
                <a:gd name="T29" fmla="*/ 190 h 470"/>
                <a:gd name="T30" fmla="*/ 112 w 546"/>
                <a:gd name="T31" fmla="*/ 166 h 470"/>
                <a:gd name="T32" fmla="*/ 143 w 546"/>
                <a:gd name="T33" fmla="*/ 159 h 470"/>
                <a:gd name="T34" fmla="*/ 173 w 546"/>
                <a:gd name="T35" fmla="*/ 173 h 470"/>
                <a:gd name="T36" fmla="*/ 232 w 546"/>
                <a:gd name="T37" fmla="*/ 223 h 470"/>
                <a:gd name="T38" fmla="*/ 264 w 546"/>
                <a:gd name="T39" fmla="*/ 226 h 470"/>
                <a:gd name="T40" fmla="*/ 292 w 546"/>
                <a:gd name="T41" fmla="*/ 209 h 470"/>
                <a:gd name="T42" fmla="*/ 363 w 546"/>
                <a:gd name="T43" fmla="*/ 111 h 470"/>
                <a:gd name="T44" fmla="*/ 355 w 546"/>
                <a:gd name="T45" fmla="*/ 91 h 470"/>
                <a:gd name="T46" fmla="*/ 335 w 546"/>
                <a:gd name="T47" fmla="*/ 83 h 470"/>
                <a:gd name="T48" fmla="*/ 497 w 546"/>
                <a:gd name="T49" fmla="*/ 0 h 470"/>
                <a:gd name="T50" fmla="*/ 527 w 546"/>
                <a:gd name="T51" fmla="*/ 11 h 470"/>
                <a:gd name="T52" fmla="*/ 545 w 546"/>
                <a:gd name="T53" fmla="*/ 40 h 470"/>
                <a:gd name="T54" fmla="*/ 543 w 546"/>
                <a:gd name="T55" fmla="*/ 72 h 470"/>
                <a:gd name="T56" fmla="*/ 421 w 546"/>
                <a:gd name="T57" fmla="*/ 221 h 470"/>
                <a:gd name="T58" fmla="*/ 418 w 546"/>
                <a:gd name="T59" fmla="*/ 406 h 470"/>
                <a:gd name="T60" fmla="*/ 396 w 546"/>
                <a:gd name="T61" fmla="*/ 444 h 470"/>
                <a:gd name="T62" fmla="*/ 357 w 546"/>
                <a:gd name="T63" fmla="*/ 467 h 470"/>
                <a:gd name="T64" fmla="*/ 86 w 546"/>
                <a:gd name="T65" fmla="*/ 470 h 470"/>
                <a:gd name="T66" fmla="*/ 43 w 546"/>
                <a:gd name="T67" fmla="*/ 458 h 470"/>
                <a:gd name="T68" fmla="*/ 12 w 546"/>
                <a:gd name="T69" fmla="*/ 427 h 470"/>
                <a:gd name="T70" fmla="*/ 0 w 546"/>
                <a:gd name="T71" fmla="*/ 384 h 470"/>
                <a:gd name="T72" fmla="*/ 3 w 546"/>
                <a:gd name="T73" fmla="*/ 89 h 470"/>
                <a:gd name="T74" fmla="*/ 26 w 546"/>
                <a:gd name="T75" fmla="*/ 51 h 470"/>
                <a:gd name="T76" fmla="*/ 63 w 546"/>
                <a:gd name="T77" fmla="*/ 28 h 470"/>
                <a:gd name="T78" fmla="*/ 335 w 546"/>
                <a:gd name="T79" fmla="*/ 25 h 470"/>
                <a:gd name="T80" fmla="*/ 378 w 546"/>
                <a:gd name="T81" fmla="*/ 38 h 470"/>
                <a:gd name="T82" fmla="*/ 409 w 546"/>
                <a:gd name="T83" fmla="*/ 70 h 470"/>
                <a:gd name="T84" fmla="*/ 465 w 546"/>
                <a:gd name="T85" fmla="*/ 7 h 470"/>
                <a:gd name="T86" fmla="*/ 497 w 546"/>
                <a:gd name="T87" fmla="*/ 0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6" h="470">
                  <a:moveTo>
                    <a:pt x="86" y="83"/>
                  </a:moveTo>
                  <a:lnTo>
                    <a:pt x="75" y="85"/>
                  </a:lnTo>
                  <a:lnTo>
                    <a:pt x="66" y="91"/>
                  </a:lnTo>
                  <a:lnTo>
                    <a:pt x="60" y="101"/>
                  </a:lnTo>
                  <a:lnTo>
                    <a:pt x="58" y="111"/>
                  </a:lnTo>
                  <a:lnTo>
                    <a:pt x="58" y="384"/>
                  </a:lnTo>
                  <a:lnTo>
                    <a:pt x="60" y="395"/>
                  </a:lnTo>
                  <a:lnTo>
                    <a:pt x="66" y="404"/>
                  </a:lnTo>
                  <a:lnTo>
                    <a:pt x="75" y="410"/>
                  </a:lnTo>
                  <a:lnTo>
                    <a:pt x="86" y="412"/>
                  </a:lnTo>
                  <a:lnTo>
                    <a:pt x="335" y="412"/>
                  </a:lnTo>
                  <a:lnTo>
                    <a:pt x="345" y="410"/>
                  </a:lnTo>
                  <a:lnTo>
                    <a:pt x="355" y="404"/>
                  </a:lnTo>
                  <a:lnTo>
                    <a:pt x="361" y="395"/>
                  </a:lnTo>
                  <a:lnTo>
                    <a:pt x="363" y="384"/>
                  </a:lnTo>
                  <a:lnTo>
                    <a:pt x="363" y="289"/>
                  </a:lnTo>
                  <a:lnTo>
                    <a:pt x="302" y="361"/>
                  </a:lnTo>
                  <a:lnTo>
                    <a:pt x="292" y="371"/>
                  </a:lnTo>
                  <a:lnTo>
                    <a:pt x="279" y="377"/>
                  </a:lnTo>
                  <a:lnTo>
                    <a:pt x="265" y="379"/>
                  </a:lnTo>
                  <a:lnTo>
                    <a:pt x="264" y="379"/>
                  </a:lnTo>
                  <a:lnTo>
                    <a:pt x="262" y="381"/>
                  </a:lnTo>
                  <a:lnTo>
                    <a:pt x="249" y="378"/>
                  </a:lnTo>
                  <a:lnTo>
                    <a:pt x="236" y="373"/>
                  </a:lnTo>
                  <a:lnTo>
                    <a:pt x="225" y="366"/>
                  </a:lnTo>
                  <a:lnTo>
                    <a:pt x="101" y="251"/>
                  </a:lnTo>
                  <a:lnTo>
                    <a:pt x="91" y="237"/>
                  </a:lnTo>
                  <a:lnTo>
                    <a:pt x="85" y="222"/>
                  </a:lnTo>
                  <a:lnTo>
                    <a:pt x="84" y="206"/>
                  </a:lnTo>
                  <a:lnTo>
                    <a:pt x="89" y="190"/>
                  </a:lnTo>
                  <a:lnTo>
                    <a:pt x="98" y="176"/>
                  </a:lnTo>
                  <a:lnTo>
                    <a:pt x="112" y="166"/>
                  </a:lnTo>
                  <a:lnTo>
                    <a:pt x="127" y="159"/>
                  </a:lnTo>
                  <a:lnTo>
                    <a:pt x="143" y="159"/>
                  </a:lnTo>
                  <a:lnTo>
                    <a:pt x="159" y="164"/>
                  </a:lnTo>
                  <a:lnTo>
                    <a:pt x="173" y="173"/>
                  </a:lnTo>
                  <a:lnTo>
                    <a:pt x="218" y="214"/>
                  </a:lnTo>
                  <a:lnTo>
                    <a:pt x="232" y="223"/>
                  </a:lnTo>
                  <a:lnTo>
                    <a:pt x="248" y="227"/>
                  </a:lnTo>
                  <a:lnTo>
                    <a:pt x="264" y="226"/>
                  </a:lnTo>
                  <a:lnTo>
                    <a:pt x="279" y="220"/>
                  </a:lnTo>
                  <a:lnTo>
                    <a:pt x="292" y="209"/>
                  </a:lnTo>
                  <a:lnTo>
                    <a:pt x="363" y="124"/>
                  </a:lnTo>
                  <a:lnTo>
                    <a:pt x="363" y="111"/>
                  </a:lnTo>
                  <a:lnTo>
                    <a:pt x="361" y="101"/>
                  </a:lnTo>
                  <a:lnTo>
                    <a:pt x="355" y="91"/>
                  </a:lnTo>
                  <a:lnTo>
                    <a:pt x="345" y="85"/>
                  </a:lnTo>
                  <a:lnTo>
                    <a:pt x="335" y="83"/>
                  </a:lnTo>
                  <a:lnTo>
                    <a:pt x="86" y="83"/>
                  </a:lnTo>
                  <a:close/>
                  <a:moveTo>
                    <a:pt x="497" y="0"/>
                  </a:moveTo>
                  <a:lnTo>
                    <a:pt x="513" y="3"/>
                  </a:lnTo>
                  <a:lnTo>
                    <a:pt x="527" y="11"/>
                  </a:lnTo>
                  <a:lnTo>
                    <a:pt x="539" y="24"/>
                  </a:lnTo>
                  <a:lnTo>
                    <a:pt x="545" y="40"/>
                  </a:lnTo>
                  <a:lnTo>
                    <a:pt x="546" y="56"/>
                  </a:lnTo>
                  <a:lnTo>
                    <a:pt x="543" y="72"/>
                  </a:lnTo>
                  <a:lnTo>
                    <a:pt x="533" y="87"/>
                  </a:lnTo>
                  <a:lnTo>
                    <a:pt x="421" y="221"/>
                  </a:lnTo>
                  <a:lnTo>
                    <a:pt x="421" y="384"/>
                  </a:lnTo>
                  <a:lnTo>
                    <a:pt x="418" y="406"/>
                  </a:lnTo>
                  <a:lnTo>
                    <a:pt x="409" y="427"/>
                  </a:lnTo>
                  <a:lnTo>
                    <a:pt x="396" y="444"/>
                  </a:lnTo>
                  <a:lnTo>
                    <a:pt x="378" y="458"/>
                  </a:lnTo>
                  <a:lnTo>
                    <a:pt x="357" y="467"/>
                  </a:lnTo>
                  <a:lnTo>
                    <a:pt x="335" y="470"/>
                  </a:lnTo>
                  <a:lnTo>
                    <a:pt x="86" y="470"/>
                  </a:lnTo>
                  <a:lnTo>
                    <a:pt x="63" y="467"/>
                  </a:lnTo>
                  <a:lnTo>
                    <a:pt x="43" y="458"/>
                  </a:lnTo>
                  <a:lnTo>
                    <a:pt x="26" y="444"/>
                  </a:lnTo>
                  <a:lnTo>
                    <a:pt x="12" y="427"/>
                  </a:lnTo>
                  <a:lnTo>
                    <a:pt x="3" y="406"/>
                  </a:lnTo>
                  <a:lnTo>
                    <a:pt x="0" y="384"/>
                  </a:lnTo>
                  <a:lnTo>
                    <a:pt x="0" y="111"/>
                  </a:lnTo>
                  <a:lnTo>
                    <a:pt x="3" y="89"/>
                  </a:lnTo>
                  <a:lnTo>
                    <a:pt x="12" y="68"/>
                  </a:lnTo>
                  <a:lnTo>
                    <a:pt x="26" y="51"/>
                  </a:lnTo>
                  <a:lnTo>
                    <a:pt x="43" y="37"/>
                  </a:lnTo>
                  <a:lnTo>
                    <a:pt x="63" y="28"/>
                  </a:lnTo>
                  <a:lnTo>
                    <a:pt x="86" y="25"/>
                  </a:lnTo>
                  <a:lnTo>
                    <a:pt x="335" y="25"/>
                  </a:lnTo>
                  <a:lnTo>
                    <a:pt x="358" y="28"/>
                  </a:lnTo>
                  <a:lnTo>
                    <a:pt x="378" y="38"/>
                  </a:lnTo>
                  <a:lnTo>
                    <a:pt x="396" y="52"/>
                  </a:lnTo>
                  <a:lnTo>
                    <a:pt x="409" y="70"/>
                  </a:lnTo>
                  <a:lnTo>
                    <a:pt x="452" y="19"/>
                  </a:lnTo>
                  <a:lnTo>
                    <a:pt x="465" y="7"/>
                  </a:lnTo>
                  <a:lnTo>
                    <a:pt x="480" y="1"/>
                  </a:lnTo>
                  <a:lnTo>
                    <a:pt x="497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95">
              <a:extLst>
                <a:ext uri="{FF2B5EF4-FFF2-40B4-BE49-F238E27FC236}">
                  <a16:creationId xmlns:a16="http://schemas.microsoft.com/office/drawing/2014/main" id="{FD45AE1D-242C-8E44-AF54-FE40F7D3E348}"/>
                </a:ext>
              </a:extLst>
            </p:cNvPr>
            <p:cNvSpPr>
              <a:spLocks/>
            </p:cNvSpPr>
            <p:nvPr/>
          </p:nvSpPr>
          <p:spPr bwMode="auto">
            <a:xfrm>
              <a:off x="-919163" y="2792413"/>
              <a:ext cx="169863" cy="17463"/>
            </a:xfrm>
            <a:custGeom>
              <a:avLst/>
              <a:gdLst>
                <a:gd name="T0" fmla="*/ 53 w 969"/>
                <a:gd name="T1" fmla="*/ 0 h 106"/>
                <a:gd name="T2" fmla="*/ 916 w 969"/>
                <a:gd name="T3" fmla="*/ 0 h 106"/>
                <a:gd name="T4" fmla="*/ 933 w 969"/>
                <a:gd name="T5" fmla="*/ 3 h 106"/>
                <a:gd name="T6" fmla="*/ 947 w 969"/>
                <a:gd name="T7" fmla="*/ 11 h 106"/>
                <a:gd name="T8" fmla="*/ 959 w 969"/>
                <a:gd name="T9" fmla="*/ 22 h 106"/>
                <a:gd name="T10" fmla="*/ 966 w 969"/>
                <a:gd name="T11" fmla="*/ 37 h 106"/>
                <a:gd name="T12" fmla="*/ 969 w 969"/>
                <a:gd name="T13" fmla="*/ 54 h 106"/>
                <a:gd name="T14" fmla="*/ 966 w 969"/>
                <a:gd name="T15" fmla="*/ 70 h 106"/>
                <a:gd name="T16" fmla="*/ 959 w 969"/>
                <a:gd name="T17" fmla="*/ 85 h 106"/>
                <a:gd name="T18" fmla="*/ 947 w 969"/>
                <a:gd name="T19" fmla="*/ 97 h 106"/>
                <a:gd name="T20" fmla="*/ 933 w 969"/>
                <a:gd name="T21" fmla="*/ 104 h 106"/>
                <a:gd name="T22" fmla="*/ 916 w 969"/>
                <a:gd name="T23" fmla="*/ 106 h 106"/>
                <a:gd name="T24" fmla="*/ 53 w 969"/>
                <a:gd name="T25" fmla="*/ 106 h 106"/>
                <a:gd name="T26" fmla="*/ 36 w 969"/>
                <a:gd name="T27" fmla="*/ 104 h 106"/>
                <a:gd name="T28" fmla="*/ 22 w 969"/>
                <a:gd name="T29" fmla="*/ 97 h 106"/>
                <a:gd name="T30" fmla="*/ 10 w 969"/>
                <a:gd name="T31" fmla="*/ 85 h 106"/>
                <a:gd name="T32" fmla="*/ 3 w 969"/>
                <a:gd name="T33" fmla="*/ 70 h 106"/>
                <a:gd name="T34" fmla="*/ 0 w 969"/>
                <a:gd name="T35" fmla="*/ 54 h 106"/>
                <a:gd name="T36" fmla="*/ 3 w 969"/>
                <a:gd name="T37" fmla="*/ 37 h 106"/>
                <a:gd name="T38" fmla="*/ 10 w 969"/>
                <a:gd name="T39" fmla="*/ 22 h 106"/>
                <a:gd name="T40" fmla="*/ 22 w 969"/>
                <a:gd name="T41" fmla="*/ 11 h 106"/>
                <a:gd name="T42" fmla="*/ 36 w 969"/>
                <a:gd name="T43" fmla="*/ 3 h 106"/>
                <a:gd name="T44" fmla="*/ 53 w 969"/>
                <a:gd name="T45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69" h="106">
                  <a:moveTo>
                    <a:pt x="53" y="0"/>
                  </a:moveTo>
                  <a:lnTo>
                    <a:pt x="916" y="0"/>
                  </a:lnTo>
                  <a:lnTo>
                    <a:pt x="933" y="3"/>
                  </a:lnTo>
                  <a:lnTo>
                    <a:pt x="947" y="11"/>
                  </a:lnTo>
                  <a:lnTo>
                    <a:pt x="959" y="22"/>
                  </a:lnTo>
                  <a:lnTo>
                    <a:pt x="966" y="37"/>
                  </a:lnTo>
                  <a:lnTo>
                    <a:pt x="969" y="54"/>
                  </a:lnTo>
                  <a:lnTo>
                    <a:pt x="966" y="70"/>
                  </a:lnTo>
                  <a:lnTo>
                    <a:pt x="959" y="85"/>
                  </a:lnTo>
                  <a:lnTo>
                    <a:pt x="947" y="97"/>
                  </a:lnTo>
                  <a:lnTo>
                    <a:pt x="933" y="104"/>
                  </a:lnTo>
                  <a:lnTo>
                    <a:pt x="916" y="106"/>
                  </a:lnTo>
                  <a:lnTo>
                    <a:pt x="53" y="106"/>
                  </a:lnTo>
                  <a:lnTo>
                    <a:pt x="36" y="104"/>
                  </a:lnTo>
                  <a:lnTo>
                    <a:pt x="22" y="97"/>
                  </a:lnTo>
                  <a:lnTo>
                    <a:pt x="10" y="85"/>
                  </a:lnTo>
                  <a:lnTo>
                    <a:pt x="3" y="70"/>
                  </a:lnTo>
                  <a:lnTo>
                    <a:pt x="0" y="54"/>
                  </a:lnTo>
                  <a:lnTo>
                    <a:pt x="3" y="37"/>
                  </a:lnTo>
                  <a:lnTo>
                    <a:pt x="10" y="22"/>
                  </a:lnTo>
                  <a:lnTo>
                    <a:pt x="22" y="11"/>
                  </a:lnTo>
                  <a:lnTo>
                    <a:pt x="36" y="3"/>
                  </a:lnTo>
                  <a:lnTo>
                    <a:pt x="53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96">
              <a:extLst>
                <a:ext uri="{FF2B5EF4-FFF2-40B4-BE49-F238E27FC236}">
                  <a16:creationId xmlns:a16="http://schemas.microsoft.com/office/drawing/2014/main" id="{CD6B6BDE-0AD2-B7FF-B4CC-004114C3C95C}"/>
                </a:ext>
              </a:extLst>
            </p:cNvPr>
            <p:cNvSpPr>
              <a:spLocks/>
            </p:cNvSpPr>
            <p:nvPr/>
          </p:nvSpPr>
          <p:spPr bwMode="auto">
            <a:xfrm>
              <a:off x="-919163" y="2882900"/>
              <a:ext cx="169863" cy="19050"/>
            </a:xfrm>
            <a:custGeom>
              <a:avLst/>
              <a:gdLst>
                <a:gd name="T0" fmla="*/ 53 w 969"/>
                <a:gd name="T1" fmla="*/ 0 h 107"/>
                <a:gd name="T2" fmla="*/ 916 w 969"/>
                <a:gd name="T3" fmla="*/ 0 h 107"/>
                <a:gd name="T4" fmla="*/ 933 w 969"/>
                <a:gd name="T5" fmla="*/ 3 h 107"/>
                <a:gd name="T6" fmla="*/ 947 w 969"/>
                <a:gd name="T7" fmla="*/ 11 h 107"/>
                <a:gd name="T8" fmla="*/ 959 w 969"/>
                <a:gd name="T9" fmla="*/ 23 h 107"/>
                <a:gd name="T10" fmla="*/ 966 w 969"/>
                <a:gd name="T11" fmla="*/ 36 h 107"/>
                <a:gd name="T12" fmla="*/ 969 w 969"/>
                <a:gd name="T13" fmla="*/ 53 h 107"/>
                <a:gd name="T14" fmla="*/ 966 w 969"/>
                <a:gd name="T15" fmla="*/ 70 h 107"/>
                <a:gd name="T16" fmla="*/ 959 w 969"/>
                <a:gd name="T17" fmla="*/ 85 h 107"/>
                <a:gd name="T18" fmla="*/ 947 w 969"/>
                <a:gd name="T19" fmla="*/ 96 h 107"/>
                <a:gd name="T20" fmla="*/ 933 w 969"/>
                <a:gd name="T21" fmla="*/ 103 h 107"/>
                <a:gd name="T22" fmla="*/ 916 w 969"/>
                <a:gd name="T23" fmla="*/ 107 h 107"/>
                <a:gd name="T24" fmla="*/ 53 w 969"/>
                <a:gd name="T25" fmla="*/ 107 h 107"/>
                <a:gd name="T26" fmla="*/ 36 w 969"/>
                <a:gd name="T27" fmla="*/ 103 h 107"/>
                <a:gd name="T28" fmla="*/ 22 w 969"/>
                <a:gd name="T29" fmla="*/ 96 h 107"/>
                <a:gd name="T30" fmla="*/ 10 w 969"/>
                <a:gd name="T31" fmla="*/ 85 h 107"/>
                <a:gd name="T32" fmla="*/ 3 w 969"/>
                <a:gd name="T33" fmla="*/ 70 h 107"/>
                <a:gd name="T34" fmla="*/ 0 w 969"/>
                <a:gd name="T35" fmla="*/ 53 h 107"/>
                <a:gd name="T36" fmla="*/ 3 w 969"/>
                <a:gd name="T37" fmla="*/ 36 h 107"/>
                <a:gd name="T38" fmla="*/ 10 w 969"/>
                <a:gd name="T39" fmla="*/ 23 h 107"/>
                <a:gd name="T40" fmla="*/ 22 w 969"/>
                <a:gd name="T41" fmla="*/ 11 h 107"/>
                <a:gd name="T42" fmla="*/ 36 w 969"/>
                <a:gd name="T43" fmla="*/ 3 h 107"/>
                <a:gd name="T44" fmla="*/ 53 w 969"/>
                <a:gd name="T45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69" h="107">
                  <a:moveTo>
                    <a:pt x="53" y="0"/>
                  </a:moveTo>
                  <a:lnTo>
                    <a:pt x="916" y="0"/>
                  </a:lnTo>
                  <a:lnTo>
                    <a:pt x="933" y="3"/>
                  </a:lnTo>
                  <a:lnTo>
                    <a:pt x="947" y="11"/>
                  </a:lnTo>
                  <a:lnTo>
                    <a:pt x="959" y="23"/>
                  </a:lnTo>
                  <a:lnTo>
                    <a:pt x="966" y="36"/>
                  </a:lnTo>
                  <a:lnTo>
                    <a:pt x="969" y="53"/>
                  </a:lnTo>
                  <a:lnTo>
                    <a:pt x="966" y="70"/>
                  </a:lnTo>
                  <a:lnTo>
                    <a:pt x="959" y="85"/>
                  </a:lnTo>
                  <a:lnTo>
                    <a:pt x="947" y="96"/>
                  </a:lnTo>
                  <a:lnTo>
                    <a:pt x="933" y="103"/>
                  </a:lnTo>
                  <a:lnTo>
                    <a:pt x="916" y="107"/>
                  </a:lnTo>
                  <a:lnTo>
                    <a:pt x="53" y="107"/>
                  </a:lnTo>
                  <a:lnTo>
                    <a:pt x="36" y="103"/>
                  </a:lnTo>
                  <a:lnTo>
                    <a:pt x="22" y="96"/>
                  </a:lnTo>
                  <a:lnTo>
                    <a:pt x="10" y="85"/>
                  </a:lnTo>
                  <a:lnTo>
                    <a:pt x="3" y="70"/>
                  </a:lnTo>
                  <a:lnTo>
                    <a:pt x="0" y="53"/>
                  </a:lnTo>
                  <a:lnTo>
                    <a:pt x="3" y="36"/>
                  </a:lnTo>
                  <a:lnTo>
                    <a:pt x="10" y="23"/>
                  </a:lnTo>
                  <a:lnTo>
                    <a:pt x="22" y="11"/>
                  </a:lnTo>
                  <a:lnTo>
                    <a:pt x="36" y="3"/>
                  </a:lnTo>
                  <a:lnTo>
                    <a:pt x="53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97">
              <a:extLst>
                <a:ext uri="{FF2B5EF4-FFF2-40B4-BE49-F238E27FC236}">
                  <a16:creationId xmlns:a16="http://schemas.microsoft.com/office/drawing/2014/main" id="{B27E7E8A-D7DC-AD9B-F2D3-A342FD12817F}"/>
                </a:ext>
              </a:extLst>
            </p:cNvPr>
            <p:cNvSpPr>
              <a:spLocks/>
            </p:cNvSpPr>
            <p:nvPr/>
          </p:nvSpPr>
          <p:spPr bwMode="auto">
            <a:xfrm>
              <a:off x="-919163" y="2974975"/>
              <a:ext cx="169863" cy="19050"/>
            </a:xfrm>
            <a:custGeom>
              <a:avLst/>
              <a:gdLst>
                <a:gd name="T0" fmla="*/ 53 w 969"/>
                <a:gd name="T1" fmla="*/ 0 h 107"/>
                <a:gd name="T2" fmla="*/ 916 w 969"/>
                <a:gd name="T3" fmla="*/ 0 h 107"/>
                <a:gd name="T4" fmla="*/ 933 w 969"/>
                <a:gd name="T5" fmla="*/ 2 h 107"/>
                <a:gd name="T6" fmla="*/ 947 w 969"/>
                <a:gd name="T7" fmla="*/ 10 h 107"/>
                <a:gd name="T8" fmla="*/ 959 w 969"/>
                <a:gd name="T9" fmla="*/ 22 h 107"/>
                <a:gd name="T10" fmla="*/ 966 w 969"/>
                <a:gd name="T11" fmla="*/ 36 h 107"/>
                <a:gd name="T12" fmla="*/ 969 w 969"/>
                <a:gd name="T13" fmla="*/ 53 h 107"/>
                <a:gd name="T14" fmla="*/ 966 w 969"/>
                <a:gd name="T15" fmla="*/ 71 h 107"/>
                <a:gd name="T16" fmla="*/ 959 w 969"/>
                <a:gd name="T17" fmla="*/ 84 h 107"/>
                <a:gd name="T18" fmla="*/ 947 w 969"/>
                <a:gd name="T19" fmla="*/ 96 h 107"/>
                <a:gd name="T20" fmla="*/ 933 w 969"/>
                <a:gd name="T21" fmla="*/ 103 h 107"/>
                <a:gd name="T22" fmla="*/ 916 w 969"/>
                <a:gd name="T23" fmla="*/ 107 h 107"/>
                <a:gd name="T24" fmla="*/ 53 w 969"/>
                <a:gd name="T25" fmla="*/ 107 h 107"/>
                <a:gd name="T26" fmla="*/ 36 w 969"/>
                <a:gd name="T27" fmla="*/ 103 h 107"/>
                <a:gd name="T28" fmla="*/ 22 w 969"/>
                <a:gd name="T29" fmla="*/ 96 h 107"/>
                <a:gd name="T30" fmla="*/ 10 w 969"/>
                <a:gd name="T31" fmla="*/ 84 h 107"/>
                <a:gd name="T32" fmla="*/ 3 w 969"/>
                <a:gd name="T33" fmla="*/ 71 h 107"/>
                <a:gd name="T34" fmla="*/ 0 w 969"/>
                <a:gd name="T35" fmla="*/ 53 h 107"/>
                <a:gd name="T36" fmla="*/ 3 w 969"/>
                <a:gd name="T37" fmla="*/ 36 h 107"/>
                <a:gd name="T38" fmla="*/ 10 w 969"/>
                <a:gd name="T39" fmla="*/ 22 h 107"/>
                <a:gd name="T40" fmla="*/ 22 w 969"/>
                <a:gd name="T41" fmla="*/ 10 h 107"/>
                <a:gd name="T42" fmla="*/ 36 w 969"/>
                <a:gd name="T43" fmla="*/ 2 h 107"/>
                <a:gd name="T44" fmla="*/ 53 w 969"/>
                <a:gd name="T45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69" h="107">
                  <a:moveTo>
                    <a:pt x="53" y="0"/>
                  </a:moveTo>
                  <a:lnTo>
                    <a:pt x="916" y="0"/>
                  </a:lnTo>
                  <a:lnTo>
                    <a:pt x="933" y="2"/>
                  </a:lnTo>
                  <a:lnTo>
                    <a:pt x="947" y="10"/>
                  </a:lnTo>
                  <a:lnTo>
                    <a:pt x="959" y="22"/>
                  </a:lnTo>
                  <a:lnTo>
                    <a:pt x="966" y="36"/>
                  </a:lnTo>
                  <a:lnTo>
                    <a:pt x="969" y="53"/>
                  </a:lnTo>
                  <a:lnTo>
                    <a:pt x="966" y="71"/>
                  </a:lnTo>
                  <a:lnTo>
                    <a:pt x="959" y="84"/>
                  </a:lnTo>
                  <a:lnTo>
                    <a:pt x="947" y="96"/>
                  </a:lnTo>
                  <a:lnTo>
                    <a:pt x="933" y="103"/>
                  </a:lnTo>
                  <a:lnTo>
                    <a:pt x="916" y="107"/>
                  </a:lnTo>
                  <a:lnTo>
                    <a:pt x="53" y="107"/>
                  </a:lnTo>
                  <a:lnTo>
                    <a:pt x="36" y="103"/>
                  </a:lnTo>
                  <a:lnTo>
                    <a:pt x="22" y="96"/>
                  </a:lnTo>
                  <a:lnTo>
                    <a:pt x="10" y="84"/>
                  </a:lnTo>
                  <a:lnTo>
                    <a:pt x="3" y="71"/>
                  </a:lnTo>
                  <a:lnTo>
                    <a:pt x="0" y="53"/>
                  </a:lnTo>
                  <a:lnTo>
                    <a:pt x="3" y="36"/>
                  </a:lnTo>
                  <a:lnTo>
                    <a:pt x="10" y="22"/>
                  </a:lnTo>
                  <a:lnTo>
                    <a:pt x="22" y="10"/>
                  </a:lnTo>
                  <a:lnTo>
                    <a:pt x="36" y="2"/>
                  </a:lnTo>
                  <a:lnTo>
                    <a:pt x="53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755E0C4-EA22-ED36-38D7-D1981CA73EA2}"/>
              </a:ext>
            </a:extLst>
          </p:cNvPr>
          <p:cNvGrpSpPr/>
          <p:nvPr/>
        </p:nvGrpSpPr>
        <p:grpSpPr>
          <a:xfrm>
            <a:off x="5453148" y="1682198"/>
            <a:ext cx="420617" cy="431850"/>
            <a:chOff x="-1162050" y="2613025"/>
            <a:chExt cx="684212" cy="701675"/>
          </a:xfrm>
          <a:solidFill>
            <a:schemeClr val="tx1"/>
          </a:solidFill>
        </p:grpSpPr>
        <p:sp>
          <p:nvSpPr>
            <p:cNvPr id="17" name="Freeform 112">
              <a:extLst>
                <a:ext uri="{FF2B5EF4-FFF2-40B4-BE49-F238E27FC236}">
                  <a16:creationId xmlns:a16="http://schemas.microsoft.com/office/drawing/2014/main" id="{BEE74EE8-794F-1F8D-E084-2AB97A6F086A}"/>
                </a:ext>
              </a:extLst>
            </p:cNvPr>
            <p:cNvSpPr>
              <a:spLocks/>
            </p:cNvSpPr>
            <p:nvPr/>
          </p:nvSpPr>
          <p:spPr bwMode="auto">
            <a:xfrm>
              <a:off x="-873125" y="2613025"/>
              <a:ext cx="106362" cy="109538"/>
            </a:xfrm>
            <a:custGeom>
              <a:avLst/>
              <a:gdLst>
                <a:gd name="T0" fmla="*/ 267 w 535"/>
                <a:gd name="T1" fmla="*/ 0 h 479"/>
                <a:gd name="T2" fmla="*/ 267 w 535"/>
                <a:gd name="T3" fmla="*/ 0 h 479"/>
                <a:gd name="T4" fmla="*/ 311 w 535"/>
                <a:gd name="T5" fmla="*/ 3 h 479"/>
                <a:gd name="T6" fmla="*/ 352 w 535"/>
                <a:gd name="T7" fmla="*/ 12 h 479"/>
                <a:gd name="T8" fmla="*/ 390 w 535"/>
                <a:gd name="T9" fmla="*/ 27 h 479"/>
                <a:gd name="T10" fmla="*/ 425 w 535"/>
                <a:gd name="T11" fmla="*/ 47 h 479"/>
                <a:gd name="T12" fmla="*/ 456 w 535"/>
                <a:gd name="T13" fmla="*/ 71 h 479"/>
                <a:gd name="T14" fmla="*/ 483 w 535"/>
                <a:gd name="T15" fmla="*/ 99 h 479"/>
                <a:gd name="T16" fmla="*/ 504 w 535"/>
                <a:gd name="T17" fmla="*/ 130 h 479"/>
                <a:gd name="T18" fmla="*/ 521 w 535"/>
                <a:gd name="T19" fmla="*/ 164 h 479"/>
                <a:gd name="T20" fmla="*/ 531 w 535"/>
                <a:gd name="T21" fmla="*/ 201 h 479"/>
                <a:gd name="T22" fmla="*/ 535 w 535"/>
                <a:gd name="T23" fmla="*/ 240 h 479"/>
                <a:gd name="T24" fmla="*/ 531 w 535"/>
                <a:gd name="T25" fmla="*/ 279 h 479"/>
                <a:gd name="T26" fmla="*/ 521 w 535"/>
                <a:gd name="T27" fmla="*/ 316 h 479"/>
                <a:gd name="T28" fmla="*/ 504 w 535"/>
                <a:gd name="T29" fmla="*/ 350 h 479"/>
                <a:gd name="T30" fmla="*/ 483 w 535"/>
                <a:gd name="T31" fmla="*/ 381 h 479"/>
                <a:gd name="T32" fmla="*/ 456 w 535"/>
                <a:gd name="T33" fmla="*/ 410 h 479"/>
                <a:gd name="T34" fmla="*/ 425 w 535"/>
                <a:gd name="T35" fmla="*/ 433 h 479"/>
                <a:gd name="T36" fmla="*/ 390 w 535"/>
                <a:gd name="T37" fmla="*/ 453 h 479"/>
                <a:gd name="T38" fmla="*/ 352 w 535"/>
                <a:gd name="T39" fmla="*/ 467 h 479"/>
                <a:gd name="T40" fmla="*/ 311 w 535"/>
                <a:gd name="T41" fmla="*/ 476 h 479"/>
                <a:gd name="T42" fmla="*/ 267 w 535"/>
                <a:gd name="T43" fmla="*/ 479 h 479"/>
                <a:gd name="T44" fmla="*/ 224 w 535"/>
                <a:gd name="T45" fmla="*/ 476 h 479"/>
                <a:gd name="T46" fmla="*/ 183 w 535"/>
                <a:gd name="T47" fmla="*/ 467 h 479"/>
                <a:gd name="T48" fmla="*/ 145 w 535"/>
                <a:gd name="T49" fmla="*/ 453 h 479"/>
                <a:gd name="T50" fmla="*/ 110 w 535"/>
                <a:gd name="T51" fmla="*/ 433 h 479"/>
                <a:gd name="T52" fmla="*/ 79 w 535"/>
                <a:gd name="T53" fmla="*/ 410 h 479"/>
                <a:gd name="T54" fmla="*/ 52 w 535"/>
                <a:gd name="T55" fmla="*/ 381 h 479"/>
                <a:gd name="T56" fmla="*/ 30 w 535"/>
                <a:gd name="T57" fmla="*/ 350 h 479"/>
                <a:gd name="T58" fmla="*/ 14 w 535"/>
                <a:gd name="T59" fmla="*/ 316 h 479"/>
                <a:gd name="T60" fmla="*/ 4 w 535"/>
                <a:gd name="T61" fmla="*/ 279 h 479"/>
                <a:gd name="T62" fmla="*/ 0 w 535"/>
                <a:gd name="T63" fmla="*/ 240 h 479"/>
                <a:gd name="T64" fmla="*/ 4 w 535"/>
                <a:gd name="T65" fmla="*/ 201 h 479"/>
                <a:gd name="T66" fmla="*/ 14 w 535"/>
                <a:gd name="T67" fmla="*/ 164 h 479"/>
                <a:gd name="T68" fmla="*/ 30 w 535"/>
                <a:gd name="T69" fmla="*/ 130 h 479"/>
                <a:gd name="T70" fmla="*/ 52 w 535"/>
                <a:gd name="T71" fmla="*/ 99 h 479"/>
                <a:gd name="T72" fmla="*/ 79 w 535"/>
                <a:gd name="T73" fmla="*/ 71 h 479"/>
                <a:gd name="T74" fmla="*/ 110 w 535"/>
                <a:gd name="T75" fmla="*/ 47 h 479"/>
                <a:gd name="T76" fmla="*/ 145 w 535"/>
                <a:gd name="T77" fmla="*/ 27 h 479"/>
                <a:gd name="T78" fmla="*/ 183 w 535"/>
                <a:gd name="T79" fmla="*/ 12 h 479"/>
                <a:gd name="T80" fmla="*/ 224 w 535"/>
                <a:gd name="T81" fmla="*/ 3 h 479"/>
                <a:gd name="T82" fmla="*/ 267 w 535"/>
                <a:gd name="T83" fmla="*/ 0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5" h="479">
                  <a:moveTo>
                    <a:pt x="267" y="0"/>
                  </a:moveTo>
                  <a:lnTo>
                    <a:pt x="267" y="0"/>
                  </a:lnTo>
                  <a:lnTo>
                    <a:pt x="311" y="3"/>
                  </a:lnTo>
                  <a:lnTo>
                    <a:pt x="352" y="12"/>
                  </a:lnTo>
                  <a:lnTo>
                    <a:pt x="390" y="27"/>
                  </a:lnTo>
                  <a:lnTo>
                    <a:pt x="425" y="47"/>
                  </a:lnTo>
                  <a:lnTo>
                    <a:pt x="456" y="71"/>
                  </a:lnTo>
                  <a:lnTo>
                    <a:pt x="483" y="99"/>
                  </a:lnTo>
                  <a:lnTo>
                    <a:pt x="504" y="130"/>
                  </a:lnTo>
                  <a:lnTo>
                    <a:pt x="521" y="164"/>
                  </a:lnTo>
                  <a:lnTo>
                    <a:pt x="531" y="201"/>
                  </a:lnTo>
                  <a:lnTo>
                    <a:pt x="535" y="240"/>
                  </a:lnTo>
                  <a:lnTo>
                    <a:pt x="531" y="279"/>
                  </a:lnTo>
                  <a:lnTo>
                    <a:pt x="521" y="316"/>
                  </a:lnTo>
                  <a:lnTo>
                    <a:pt x="504" y="350"/>
                  </a:lnTo>
                  <a:lnTo>
                    <a:pt x="483" y="381"/>
                  </a:lnTo>
                  <a:lnTo>
                    <a:pt x="456" y="410"/>
                  </a:lnTo>
                  <a:lnTo>
                    <a:pt x="425" y="433"/>
                  </a:lnTo>
                  <a:lnTo>
                    <a:pt x="390" y="453"/>
                  </a:lnTo>
                  <a:lnTo>
                    <a:pt x="352" y="467"/>
                  </a:lnTo>
                  <a:lnTo>
                    <a:pt x="311" y="476"/>
                  </a:lnTo>
                  <a:lnTo>
                    <a:pt x="267" y="479"/>
                  </a:lnTo>
                  <a:lnTo>
                    <a:pt x="224" y="476"/>
                  </a:lnTo>
                  <a:lnTo>
                    <a:pt x="183" y="467"/>
                  </a:lnTo>
                  <a:lnTo>
                    <a:pt x="145" y="453"/>
                  </a:lnTo>
                  <a:lnTo>
                    <a:pt x="110" y="433"/>
                  </a:lnTo>
                  <a:lnTo>
                    <a:pt x="79" y="410"/>
                  </a:lnTo>
                  <a:lnTo>
                    <a:pt x="52" y="381"/>
                  </a:lnTo>
                  <a:lnTo>
                    <a:pt x="30" y="350"/>
                  </a:lnTo>
                  <a:lnTo>
                    <a:pt x="14" y="316"/>
                  </a:lnTo>
                  <a:lnTo>
                    <a:pt x="4" y="279"/>
                  </a:lnTo>
                  <a:lnTo>
                    <a:pt x="0" y="240"/>
                  </a:lnTo>
                  <a:lnTo>
                    <a:pt x="4" y="201"/>
                  </a:lnTo>
                  <a:lnTo>
                    <a:pt x="14" y="164"/>
                  </a:lnTo>
                  <a:lnTo>
                    <a:pt x="30" y="130"/>
                  </a:lnTo>
                  <a:lnTo>
                    <a:pt x="52" y="99"/>
                  </a:lnTo>
                  <a:lnTo>
                    <a:pt x="79" y="71"/>
                  </a:lnTo>
                  <a:lnTo>
                    <a:pt x="110" y="47"/>
                  </a:lnTo>
                  <a:lnTo>
                    <a:pt x="145" y="27"/>
                  </a:lnTo>
                  <a:lnTo>
                    <a:pt x="183" y="12"/>
                  </a:lnTo>
                  <a:lnTo>
                    <a:pt x="224" y="3"/>
                  </a:lnTo>
                  <a:lnTo>
                    <a:pt x="26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13">
              <a:extLst>
                <a:ext uri="{FF2B5EF4-FFF2-40B4-BE49-F238E27FC236}">
                  <a16:creationId xmlns:a16="http://schemas.microsoft.com/office/drawing/2014/main" id="{7A791E87-3917-F5F5-8411-CC292DA06E00}"/>
                </a:ext>
              </a:extLst>
            </p:cNvPr>
            <p:cNvSpPr>
              <a:spLocks/>
            </p:cNvSpPr>
            <p:nvPr/>
          </p:nvSpPr>
          <p:spPr bwMode="auto">
            <a:xfrm>
              <a:off x="-873125" y="3206750"/>
              <a:ext cx="106362" cy="107950"/>
            </a:xfrm>
            <a:custGeom>
              <a:avLst/>
              <a:gdLst>
                <a:gd name="T0" fmla="*/ 267 w 535"/>
                <a:gd name="T1" fmla="*/ 0 h 480"/>
                <a:gd name="T2" fmla="*/ 311 w 535"/>
                <a:gd name="T3" fmla="*/ 5 h 480"/>
                <a:gd name="T4" fmla="*/ 352 w 535"/>
                <a:gd name="T5" fmla="*/ 14 h 480"/>
                <a:gd name="T6" fmla="*/ 390 w 535"/>
                <a:gd name="T7" fmla="*/ 28 h 480"/>
                <a:gd name="T8" fmla="*/ 425 w 535"/>
                <a:gd name="T9" fmla="*/ 48 h 480"/>
                <a:gd name="T10" fmla="*/ 456 w 535"/>
                <a:gd name="T11" fmla="*/ 71 h 480"/>
                <a:gd name="T12" fmla="*/ 483 w 535"/>
                <a:gd name="T13" fmla="*/ 99 h 480"/>
                <a:gd name="T14" fmla="*/ 504 w 535"/>
                <a:gd name="T15" fmla="*/ 130 h 480"/>
                <a:gd name="T16" fmla="*/ 521 w 535"/>
                <a:gd name="T17" fmla="*/ 165 h 480"/>
                <a:gd name="T18" fmla="*/ 531 w 535"/>
                <a:gd name="T19" fmla="*/ 202 h 480"/>
                <a:gd name="T20" fmla="*/ 535 w 535"/>
                <a:gd name="T21" fmla="*/ 241 h 480"/>
                <a:gd name="T22" fmla="*/ 531 w 535"/>
                <a:gd name="T23" fmla="*/ 280 h 480"/>
                <a:gd name="T24" fmla="*/ 521 w 535"/>
                <a:gd name="T25" fmla="*/ 316 h 480"/>
                <a:gd name="T26" fmla="*/ 504 w 535"/>
                <a:gd name="T27" fmla="*/ 350 h 480"/>
                <a:gd name="T28" fmla="*/ 483 w 535"/>
                <a:gd name="T29" fmla="*/ 382 h 480"/>
                <a:gd name="T30" fmla="*/ 456 w 535"/>
                <a:gd name="T31" fmla="*/ 410 h 480"/>
                <a:gd name="T32" fmla="*/ 425 w 535"/>
                <a:gd name="T33" fmla="*/ 434 h 480"/>
                <a:gd name="T34" fmla="*/ 390 w 535"/>
                <a:gd name="T35" fmla="*/ 453 h 480"/>
                <a:gd name="T36" fmla="*/ 352 w 535"/>
                <a:gd name="T37" fmla="*/ 468 h 480"/>
                <a:gd name="T38" fmla="*/ 311 w 535"/>
                <a:gd name="T39" fmla="*/ 477 h 480"/>
                <a:gd name="T40" fmla="*/ 267 w 535"/>
                <a:gd name="T41" fmla="*/ 480 h 480"/>
                <a:gd name="T42" fmla="*/ 224 w 535"/>
                <a:gd name="T43" fmla="*/ 477 h 480"/>
                <a:gd name="T44" fmla="*/ 183 w 535"/>
                <a:gd name="T45" fmla="*/ 468 h 480"/>
                <a:gd name="T46" fmla="*/ 145 w 535"/>
                <a:gd name="T47" fmla="*/ 453 h 480"/>
                <a:gd name="T48" fmla="*/ 110 w 535"/>
                <a:gd name="T49" fmla="*/ 434 h 480"/>
                <a:gd name="T50" fmla="*/ 79 w 535"/>
                <a:gd name="T51" fmla="*/ 410 h 480"/>
                <a:gd name="T52" fmla="*/ 52 w 535"/>
                <a:gd name="T53" fmla="*/ 382 h 480"/>
                <a:gd name="T54" fmla="*/ 30 w 535"/>
                <a:gd name="T55" fmla="*/ 350 h 480"/>
                <a:gd name="T56" fmla="*/ 14 w 535"/>
                <a:gd name="T57" fmla="*/ 316 h 480"/>
                <a:gd name="T58" fmla="*/ 4 w 535"/>
                <a:gd name="T59" fmla="*/ 280 h 480"/>
                <a:gd name="T60" fmla="*/ 0 w 535"/>
                <a:gd name="T61" fmla="*/ 241 h 480"/>
                <a:gd name="T62" fmla="*/ 4 w 535"/>
                <a:gd name="T63" fmla="*/ 202 h 480"/>
                <a:gd name="T64" fmla="*/ 14 w 535"/>
                <a:gd name="T65" fmla="*/ 165 h 480"/>
                <a:gd name="T66" fmla="*/ 30 w 535"/>
                <a:gd name="T67" fmla="*/ 130 h 480"/>
                <a:gd name="T68" fmla="*/ 52 w 535"/>
                <a:gd name="T69" fmla="*/ 99 h 480"/>
                <a:gd name="T70" fmla="*/ 79 w 535"/>
                <a:gd name="T71" fmla="*/ 71 h 480"/>
                <a:gd name="T72" fmla="*/ 110 w 535"/>
                <a:gd name="T73" fmla="*/ 48 h 480"/>
                <a:gd name="T74" fmla="*/ 145 w 535"/>
                <a:gd name="T75" fmla="*/ 28 h 480"/>
                <a:gd name="T76" fmla="*/ 183 w 535"/>
                <a:gd name="T77" fmla="*/ 14 h 480"/>
                <a:gd name="T78" fmla="*/ 224 w 535"/>
                <a:gd name="T79" fmla="*/ 5 h 480"/>
                <a:gd name="T80" fmla="*/ 267 w 535"/>
                <a:gd name="T81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35" h="480">
                  <a:moveTo>
                    <a:pt x="267" y="0"/>
                  </a:moveTo>
                  <a:lnTo>
                    <a:pt x="311" y="5"/>
                  </a:lnTo>
                  <a:lnTo>
                    <a:pt x="352" y="14"/>
                  </a:lnTo>
                  <a:lnTo>
                    <a:pt x="390" y="28"/>
                  </a:lnTo>
                  <a:lnTo>
                    <a:pt x="425" y="48"/>
                  </a:lnTo>
                  <a:lnTo>
                    <a:pt x="456" y="71"/>
                  </a:lnTo>
                  <a:lnTo>
                    <a:pt x="483" y="99"/>
                  </a:lnTo>
                  <a:lnTo>
                    <a:pt x="504" y="130"/>
                  </a:lnTo>
                  <a:lnTo>
                    <a:pt x="521" y="165"/>
                  </a:lnTo>
                  <a:lnTo>
                    <a:pt x="531" y="202"/>
                  </a:lnTo>
                  <a:lnTo>
                    <a:pt x="535" y="241"/>
                  </a:lnTo>
                  <a:lnTo>
                    <a:pt x="531" y="280"/>
                  </a:lnTo>
                  <a:lnTo>
                    <a:pt x="521" y="316"/>
                  </a:lnTo>
                  <a:lnTo>
                    <a:pt x="504" y="350"/>
                  </a:lnTo>
                  <a:lnTo>
                    <a:pt x="483" y="382"/>
                  </a:lnTo>
                  <a:lnTo>
                    <a:pt x="456" y="410"/>
                  </a:lnTo>
                  <a:lnTo>
                    <a:pt x="425" y="434"/>
                  </a:lnTo>
                  <a:lnTo>
                    <a:pt x="390" y="453"/>
                  </a:lnTo>
                  <a:lnTo>
                    <a:pt x="352" y="468"/>
                  </a:lnTo>
                  <a:lnTo>
                    <a:pt x="311" y="477"/>
                  </a:lnTo>
                  <a:lnTo>
                    <a:pt x="267" y="480"/>
                  </a:lnTo>
                  <a:lnTo>
                    <a:pt x="224" y="477"/>
                  </a:lnTo>
                  <a:lnTo>
                    <a:pt x="183" y="468"/>
                  </a:lnTo>
                  <a:lnTo>
                    <a:pt x="145" y="453"/>
                  </a:lnTo>
                  <a:lnTo>
                    <a:pt x="110" y="434"/>
                  </a:lnTo>
                  <a:lnTo>
                    <a:pt x="79" y="410"/>
                  </a:lnTo>
                  <a:lnTo>
                    <a:pt x="52" y="382"/>
                  </a:lnTo>
                  <a:lnTo>
                    <a:pt x="30" y="350"/>
                  </a:lnTo>
                  <a:lnTo>
                    <a:pt x="14" y="316"/>
                  </a:lnTo>
                  <a:lnTo>
                    <a:pt x="4" y="280"/>
                  </a:lnTo>
                  <a:lnTo>
                    <a:pt x="0" y="241"/>
                  </a:lnTo>
                  <a:lnTo>
                    <a:pt x="4" y="202"/>
                  </a:lnTo>
                  <a:lnTo>
                    <a:pt x="14" y="165"/>
                  </a:lnTo>
                  <a:lnTo>
                    <a:pt x="30" y="130"/>
                  </a:lnTo>
                  <a:lnTo>
                    <a:pt x="52" y="99"/>
                  </a:lnTo>
                  <a:lnTo>
                    <a:pt x="79" y="71"/>
                  </a:lnTo>
                  <a:lnTo>
                    <a:pt x="110" y="48"/>
                  </a:lnTo>
                  <a:lnTo>
                    <a:pt x="145" y="28"/>
                  </a:lnTo>
                  <a:lnTo>
                    <a:pt x="183" y="14"/>
                  </a:lnTo>
                  <a:lnTo>
                    <a:pt x="224" y="5"/>
                  </a:lnTo>
                  <a:lnTo>
                    <a:pt x="26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14">
              <a:extLst>
                <a:ext uri="{FF2B5EF4-FFF2-40B4-BE49-F238E27FC236}">
                  <a16:creationId xmlns:a16="http://schemas.microsoft.com/office/drawing/2014/main" id="{D2B7F777-63EE-015F-0638-AD830489AA5E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4200" y="2909888"/>
              <a:ext cx="106362" cy="109538"/>
            </a:xfrm>
            <a:custGeom>
              <a:avLst/>
              <a:gdLst>
                <a:gd name="T0" fmla="*/ 266 w 534"/>
                <a:gd name="T1" fmla="*/ 0 h 480"/>
                <a:gd name="T2" fmla="*/ 310 w 534"/>
                <a:gd name="T3" fmla="*/ 4 h 480"/>
                <a:gd name="T4" fmla="*/ 351 w 534"/>
                <a:gd name="T5" fmla="*/ 13 h 480"/>
                <a:gd name="T6" fmla="*/ 389 w 534"/>
                <a:gd name="T7" fmla="*/ 28 h 480"/>
                <a:gd name="T8" fmla="*/ 424 w 534"/>
                <a:gd name="T9" fmla="*/ 47 h 480"/>
                <a:gd name="T10" fmla="*/ 455 w 534"/>
                <a:gd name="T11" fmla="*/ 71 h 480"/>
                <a:gd name="T12" fmla="*/ 482 w 534"/>
                <a:gd name="T13" fmla="*/ 99 h 480"/>
                <a:gd name="T14" fmla="*/ 504 w 534"/>
                <a:gd name="T15" fmla="*/ 130 h 480"/>
                <a:gd name="T16" fmla="*/ 520 w 534"/>
                <a:gd name="T17" fmla="*/ 165 h 480"/>
                <a:gd name="T18" fmla="*/ 531 w 534"/>
                <a:gd name="T19" fmla="*/ 201 h 480"/>
                <a:gd name="T20" fmla="*/ 534 w 534"/>
                <a:gd name="T21" fmla="*/ 241 h 480"/>
                <a:gd name="T22" fmla="*/ 531 w 534"/>
                <a:gd name="T23" fmla="*/ 280 h 480"/>
                <a:gd name="T24" fmla="*/ 520 w 534"/>
                <a:gd name="T25" fmla="*/ 316 h 480"/>
                <a:gd name="T26" fmla="*/ 504 w 534"/>
                <a:gd name="T27" fmla="*/ 351 h 480"/>
                <a:gd name="T28" fmla="*/ 482 w 534"/>
                <a:gd name="T29" fmla="*/ 382 h 480"/>
                <a:gd name="T30" fmla="*/ 455 w 534"/>
                <a:gd name="T31" fmla="*/ 411 h 480"/>
                <a:gd name="T32" fmla="*/ 424 w 534"/>
                <a:gd name="T33" fmla="*/ 434 h 480"/>
                <a:gd name="T34" fmla="*/ 389 w 534"/>
                <a:gd name="T35" fmla="*/ 454 h 480"/>
                <a:gd name="T36" fmla="*/ 351 w 534"/>
                <a:gd name="T37" fmla="*/ 468 h 480"/>
                <a:gd name="T38" fmla="*/ 310 w 534"/>
                <a:gd name="T39" fmla="*/ 477 h 480"/>
                <a:gd name="T40" fmla="*/ 266 w 534"/>
                <a:gd name="T41" fmla="*/ 480 h 480"/>
                <a:gd name="T42" fmla="*/ 224 w 534"/>
                <a:gd name="T43" fmla="*/ 477 h 480"/>
                <a:gd name="T44" fmla="*/ 182 w 534"/>
                <a:gd name="T45" fmla="*/ 468 h 480"/>
                <a:gd name="T46" fmla="*/ 144 w 534"/>
                <a:gd name="T47" fmla="*/ 454 h 480"/>
                <a:gd name="T48" fmla="*/ 109 w 534"/>
                <a:gd name="T49" fmla="*/ 434 h 480"/>
                <a:gd name="T50" fmla="*/ 78 w 534"/>
                <a:gd name="T51" fmla="*/ 411 h 480"/>
                <a:gd name="T52" fmla="*/ 51 w 534"/>
                <a:gd name="T53" fmla="*/ 382 h 480"/>
                <a:gd name="T54" fmla="*/ 30 w 534"/>
                <a:gd name="T55" fmla="*/ 351 h 480"/>
                <a:gd name="T56" fmla="*/ 13 w 534"/>
                <a:gd name="T57" fmla="*/ 316 h 480"/>
                <a:gd name="T58" fmla="*/ 3 w 534"/>
                <a:gd name="T59" fmla="*/ 280 h 480"/>
                <a:gd name="T60" fmla="*/ 0 w 534"/>
                <a:gd name="T61" fmla="*/ 241 h 480"/>
                <a:gd name="T62" fmla="*/ 3 w 534"/>
                <a:gd name="T63" fmla="*/ 201 h 480"/>
                <a:gd name="T64" fmla="*/ 13 w 534"/>
                <a:gd name="T65" fmla="*/ 165 h 480"/>
                <a:gd name="T66" fmla="*/ 30 w 534"/>
                <a:gd name="T67" fmla="*/ 130 h 480"/>
                <a:gd name="T68" fmla="*/ 51 w 534"/>
                <a:gd name="T69" fmla="*/ 99 h 480"/>
                <a:gd name="T70" fmla="*/ 78 w 534"/>
                <a:gd name="T71" fmla="*/ 71 h 480"/>
                <a:gd name="T72" fmla="*/ 109 w 534"/>
                <a:gd name="T73" fmla="*/ 47 h 480"/>
                <a:gd name="T74" fmla="*/ 144 w 534"/>
                <a:gd name="T75" fmla="*/ 28 h 480"/>
                <a:gd name="T76" fmla="*/ 182 w 534"/>
                <a:gd name="T77" fmla="*/ 13 h 480"/>
                <a:gd name="T78" fmla="*/ 224 w 534"/>
                <a:gd name="T79" fmla="*/ 4 h 480"/>
                <a:gd name="T80" fmla="*/ 266 w 534"/>
                <a:gd name="T81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34" h="480">
                  <a:moveTo>
                    <a:pt x="266" y="0"/>
                  </a:moveTo>
                  <a:lnTo>
                    <a:pt x="310" y="4"/>
                  </a:lnTo>
                  <a:lnTo>
                    <a:pt x="351" y="13"/>
                  </a:lnTo>
                  <a:lnTo>
                    <a:pt x="389" y="28"/>
                  </a:lnTo>
                  <a:lnTo>
                    <a:pt x="424" y="47"/>
                  </a:lnTo>
                  <a:lnTo>
                    <a:pt x="455" y="71"/>
                  </a:lnTo>
                  <a:lnTo>
                    <a:pt x="482" y="99"/>
                  </a:lnTo>
                  <a:lnTo>
                    <a:pt x="504" y="130"/>
                  </a:lnTo>
                  <a:lnTo>
                    <a:pt x="520" y="165"/>
                  </a:lnTo>
                  <a:lnTo>
                    <a:pt x="531" y="201"/>
                  </a:lnTo>
                  <a:lnTo>
                    <a:pt x="534" y="241"/>
                  </a:lnTo>
                  <a:lnTo>
                    <a:pt x="531" y="280"/>
                  </a:lnTo>
                  <a:lnTo>
                    <a:pt x="520" y="316"/>
                  </a:lnTo>
                  <a:lnTo>
                    <a:pt x="504" y="351"/>
                  </a:lnTo>
                  <a:lnTo>
                    <a:pt x="482" y="382"/>
                  </a:lnTo>
                  <a:lnTo>
                    <a:pt x="455" y="411"/>
                  </a:lnTo>
                  <a:lnTo>
                    <a:pt x="424" y="434"/>
                  </a:lnTo>
                  <a:lnTo>
                    <a:pt x="389" y="454"/>
                  </a:lnTo>
                  <a:lnTo>
                    <a:pt x="351" y="468"/>
                  </a:lnTo>
                  <a:lnTo>
                    <a:pt x="310" y="477"/>
                  </a:lnTo>
                  <a:lnTo>
                    <a:pt x="266" y="480"/>
                  </a:lnTo>
                  <a:lnTo>
                    <a:pt x="224" y="477"/>
                  </a:lnTo>
                  <a:lnTo>
                    <a:pt x="182" y="468"/>
                  </a:lnTo>
                  <a:lnTo>
                    <a:pt x="144" y="454"/>
                  </a:lnTo>
                  <a:lnTo>
                    <a:pt x="109" y="434"/>
                  </a:lnTo>
                  <a:lnTo>
                    <a:pt x="78" y="411"/>
                  </a:lnTo>
                  <a:lnTo>
                    <a:pt x="51" y="382"/>
                  </a:lnTo>
                  <a:lnTo>
                    <a:pt x="30" y="351"/>
                  </a:lnTo>
                  <a:lnTo>
                    <a:pt x="13" y="316"/>
                  </a:lnTo>
                  <a:lnTo>
                    <a:pt x="3" y="280"/>
                  </a:lnTo>
                  <a:lnTo>
                    <a:pt x="0" y="241"/>
                  </a:lnTo>
                  <a:lnTo>
                    <a:pt x="3" y="201"/>
                  </a:lnTo>
                  <a:lnTo>
                    <a:pt x="13" y="165"/>
                  </a:lnTo>
                  <a:lnTo>
                    <a:pt x="30" y="130"/>
                  </a:lnTo>
                  <a:lnTo>
                    <a:pt x="51" y="99"/>
                  </a:lnTo>
                  <a:lnTo>
                    <a:pt x="78" y="71"/>
                  </a:lnTo>
                  <a:lnTo>
                    <a:pt x="109" y="47"/>
                  </a:lnTo>
                  <a:lnTo>
                    <a:pt x="144" y="28"/>
                  </a:lnTo>
                  <a:lnTo>
                    <a:pt x="182" y="13"/>
                  </a:lnTo>
                  <a:lnTo>
                    <a:pt x="224" y="4"/>
                  </a:lnTo>
                  <a:lnTo>
                    <a:pt x="2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15">
              <a:extLst>
                <a:ext uri="{FF2B5EF4-FFF2-40B4-BE49-F238E27FC236}">
                  <a16:creationId xmlns:a16="http://schemas.microsoft.com/office/drawing/2014/main" id="{0B1AFDAE-146C-9CF3-EAD8-451010957E93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62050" y="2909888"/>
              <a:ext cx="106362" cy="109538"/>
            </a:xfrm>
            <a:custGeom>
              <a:avLst/>
              <a:gdLst>
                <a:gd name="T0" fmla="*/ 268 w 535"/>
                <a:gd name="T1" fmla="*/ 0 h 480"/>
                <a:gd name="T2" fmla="*/ 311 w 535"/>
                <a:gd name="T3" fmla="*/ 4 h 480"/>
                <a:gd name="T4" fmla="*/ 352 w 535"/>
                <a:gd name="T5" fmla="*/ 13 h 480"/>
                <a:gd name="T6" fmla="*/ 390 w 535"/>
                <a:gd name="T7" fmla="*/ 28 h 480"/>
                <a:gd name="T8" fmla="*/ 426 w 535"/>
                <a:gd name="T9" fmla="*/ 47 h 480"/>
                <a:gd name="T10" fmla="*/ 457 w 535"/>
                <a:gd name="T11" fmla="*/ 71 h 480"/>
                <a:gd name="T12" fmla="*/ 483 w 535"/>
                <a:gd name="T13" fmla="*/ 99 h 480"/>
                <a:gd name="T14" fmla="*/ 505 w 535"/>
                <a:gd name="T15" fmla="*/ 130 h 480"/>
                <a:gd name="T16" fmla="*/ 521 w 535"/>
                <a:gd name="T17" fmla="*/ 165 h 480"/>
                <a:gd name="T18" fmla="*/ 531 w 535"/>
                <a:gd name="T19" fmla="*/ 201 h 480"/>
                <a:gd name="T20" fmla="*/ 535 w 535"/>
                <a:gd name="T21" fmla="*/ 241 h 480"/>
                <a:gd name="T22" fmla="*/ 531 w 535"/>
                <a:gd name="T23" fmla="*/ 280 h 480"/>
                <a:gd name="T24" fmla="*/ 521 w 535"/>
                <a:gd name="T25" fmla="*/ 316 h 480"/>
                <a:gd name="T26" fmla="*/ 505 w 535"/>
                <a:gd name="T27" fmla="*/ 351 h 480"/>
                <a:gd name="T28" fmla="*/ 483 w 535"/>
                <a:gd name="T29" fmla="*/ 382 h 480"/>
                <a:gd name="T30" fmla="*/ 457 w 535"/>
                <a:gd name="T31" fmla="*/ 411 h 480"/>
                <a:gd name="T32" fmla="*/ 426 w 535"/>
                <a:gd name="T33" fmla="*/ 434 h 480"/>
                <a:gd name="T34" fmla="*/ 390 w 535"/>
                <a:gd name="T35" fmla="*/ 454 h 480"/>
                <a:gd name="T36" fmla="*/ 352 w 535"/>
                <a:gd name="T37" fmla="*/ 468 h 480"/>
                <a:gd name="T38" fmla="*/ 311 w 535"/>
                <a:gd name="T39" fmla="*/ 477 h 480"/>
                <a:gd name="T40" fmla="*/ 268 w 535"/>
                <a:gd name="T41" fmla="*/ 480 h 480"/>
                <a:gd name="T42" fmla="*/ 224 w 535"/>
                <a:gd name="T43" fmla="*/ 477 h 480"/>
                <a:gd name="T44" fmla="*/ 184 w 535"/>
                <a:gd name="T45" fmla="*/ 468 h 480"/>
                <a:gd name="T46" fmla="*/ 144 w 535"/>
                <a:gd name="T47" fmla="*/ 454 h 480"/>
                <a:gd name="T48" fmla="*/ 110 w 535"/>
                <a:gd name="T49" fmla="*/ 434 h 480"/>
                <a:gd name="T50" fmla="*/ 78 w 535"/>
                <a:gd name="T51" fmla="*/ 411 h 480"/>
                <a:gd name="T52" fmla="*/ 53 w 535"/>
                <a:gd name="T53" fmla="*/ 382 h 480"/>
                <a:gd name="T54" fmla="*/ 30 w 535"/>
                <a:gd name="T55" fmla="*/ 351 h 480"/>
                <a:gd name="T56" fmla="*/ 14 w 535"/>
                <a:gd name="T57" fmla="*/ 316 h 480"/>
                <a:gd name="T58" fmla="*/ 4 w 535"/>
                <a:gd name="T59" fmla="*/ 280 h 480"/>
                <a:gd name="T60" fmla="*/ 0 w 535"/>
                <a:gd name="T61" fmla="*/ 241 h 480"/>
                <a:gd name="T62" fmla="*/ 4 w 535"/>
                <a:gd name="T63" fmla="*/ 201 h 480"/>
                <a:gd name="T64" fmla="*/ 14 w 535"/>
                <a:gd name="T65" fmla="*/ 165 h 480"/>
                <a:gd name="T66" fmla="*/ 30 w 535"/>
                <a:gd name="T67" fmla="*/ 130 h 480"/>
                <a:gd name="T68" fmla="*/ 53 w 535"/>
                <a:gd name="T69" fmla="*/ 99 h 480"/>
                <a:gd name="T70" fmla="*/ 78 w 535"/>
                <a:gd name="T71" fmla="*/ 71 h 480"/>
                <a:gd name="T72" fmla="*/ 110 w 535"/>
                <a:gd name="T73" fmla="*/ 47 h 480"/>
                <a:gd name="T74" fmla="*/ 144 w 535"/>
                <a:gd name="T75" fmla="*/ 28 h 480"/>
                <a:gd name="T76" fmla="*/ 184 w 535"/>
                <a:gd name="T77" fmla="*/ 13 h 480"/>
                <a:gd name="T78" fmla="*/ 224 w 535"/>
                <a:gd name="T79" fmla="*/ 4 h 480"/>
                <a:gd name="T80" fmla="*/ 268 w 535"/>
                <a:gd name="T81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35" h="480">
                  <a:moveTo>
                    <a:pt x="268" y="0"/>
                  </a:moveTo>
                  <a:lnTo>
                    <a:pt x="311" y="4"/>
                  </a:lnTo>
                  <a:lnTo>
                    <a:pt x="352" y="13"/>
                  </a:lnTo>
                  <a:lnTo>
                    <a:pt x="390" y="28"/>
                  </a:lnTo>
                  <a:lnTo>
                    <a:pt x="426" y="47"/>
                  </a:lnTo>
                  <a:lnTo>
                    <a:pt x="457" y="71"/>
                  </a:lnTo>
                  <a:lnTo>
                    <a:pt x="483" y="99"/>
                  </a:lnTo>
                  <a:lnTo>
                    <a:pt x="505" y="130"/>
                  </a:lnTo>
                  <a:lnTo>
                    <a:pt x="521" y="165"/>
                  </a:lnTo>
                  <a:lnTo>
                    <a:pt x="531" y="201"/>
                  </a:lnTo>
                  <a:lnTo>
                    <a:pt x="535" y="241"/>
                  </a:lnTo>
                  <a:lnTo>
                    <a:pt x="531" y="280"/>
                  </a:lnTo>
                  <a:lnTo>
                    <a:pt x="521" y="316"/>
                  </a:lnTo>
                  <a:lnTo>
                    <a:pt x="505" y="351"/>
                  </a:lnTo>
                  <a:lnTo>
                    <a:pt x="483" y="382"/>
                  </a:lnTo>
                  <a:lnTo>
                    <a:pt x="457" y="411"/>
                  </a:lnTo>
                  <a:lnTo>
                    <a:pt x="426" y="434"/>
                  </a:lnTo>
                  <a:lnTo>
                    <a:pt x="390" y="454"/>
                  </a:lnTo>
                  <a:lnTo>
                    <a:pt x="352" y="468"/>
                  </a:lnTo>
                  <a:lnTo>
                    <a:pt x="311" y="477"/>
                  </a:lnTo>
                  <a:lnTo>
                    <a:pt x="268" y="480"/>
                  </a:lnTo>
                  <a:lnTo>
                    <a:pt x="224" y="477"/>
                  </a:lnTo>
                  <a:lnTo>
                    <a:pt x="184" y="468"/>
                  </a:lnTo>
                  <a:lnTo>
                    <a:pt x="144" y="454"/>
                  </a:lnTo>
                  <a:lnTo>
                    <a:pt x="110" y="434"/>
                  </a:lnTo>
                  <a:lnTo>
                    <a:pt x="78" y="411"/>
                  </a:lnTo>
                  <a:lnTo>
                    <a:pt x="53" y="382"/>
                  </a:lnTo>
                  <a:lnTo>
                    <a:pt x="30" y="351"/>
                  </a:lnTo>
                  <a:lnTo>
                    <a:pt x="14" y="316"/>
                  </a:lnTo>
                  <a:lnTo>
                    <a:pt x="4" y="280"/>
                  </a:lnTo>
                  <a:lnTo>
                    <a:pt x="0" y="241"/>
                  </a:lnTo>
                  <a:lnTo>
                    <a:pt x="4" y="201"/>
                  </a:lnTo>
                  <a:lnTo>
                    <a:pt x="14" y="165"/>
                  </a:lnTo>
                  <a:lnTo>
                    <a:pt x="30" y="130"/>
                  </a:lnTo>
                  <a:lnTo>
                    <a:pt x="53" y="99"/>
                  </a:lnTo>
                  <a:lnTo>
                    <a:pt x="78" y="71"/>
                  </a:lnTo>
                  <a:lnTo>
                    <a:pt x="110" y="47"/>
                  </a:lnTo>
                  <a:lnTo>
                    <a:pt x="144" y="28"/>
                  </a:lnTo>
                  <a:lnTo>
                    <a:pt x="184" y="13"/>
                  </a:lnTo>
                  <a:lnTo>
                    <a:pt x="224" y="4"/>
                  </a:lnTo>
                  <a:lnTo>
                    <a:pt x="26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16">
              <a:extLst>
                <a:ext uri="{FF2B5EF4-FFF2-40B4-BE49-F238E27FC236}">
                  <a16:creationId xmlns:a16="http://schemas.microsoft.com/office/drawing/2014/main" id="{FF18B60D-676D-9D33-82B9-6C051609902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41400" y="2738438"/>
              <a:ext cx="441325" cy="452438"/>
            </a:xfrm>
            <a:custGeom>
              <a:avLst/>
              <a:gdLst>
                <a:gd name="T0" fmla="*/ 1222 w 2224"/>
                <a:gd name="T1" fmla="*/ 181 h 1997"/>
                <a:gd name="T2" fmla="*/ 1148 w 2224"/>
                <a:gd name="T3" fmla="*/ 523 h 1997"/>
                <a:gd name="T4" fmla="*/ 1263 w 2224"/>
                <a:gd name="T5" fmla="*/ 541 h 1997"/>
                <a:gd name="T6" fmla="*/ 1368 w 2224"/>
                <a:gd name="T7" fmla="*/ 580 h 1997"/>
                <a:gd name="T8" fmla="*/ 1463 w 2224"/>
                <a:gd name="T9" fmla="*/ 638 h 1997"/>
                <a:gd name="T10" fmla="*/ 1678 w 2224"/>
                <a:gd name="T11" fmla="*/ 350 h 1997"/>
                <a:gd name="T12" fmla="*/ 1833 w 2224"/>
                <a:gd name="T13" fmla="*/ 491 h 1997"/>
                <a:gd name="T14" fmla="*/ 1514 w 2224"/>
                <a:gd name="T15" fmla="*/ 682 h 1997"/>
                <a:gd name="T16" fmla="*/ 1581 w 2224"/>
                <a:gd name="T17" fmla="*/ 766 h 1997"/>
                <a:gd name="T18" fmla="*/ 1627 w 2224"/>
                <a:gd name="T19" fmla="*/ 862 h 1997"/>
                <a:gd name="T20" fmla="*/ 1650 w 2224"/>
                <a:gd name="T21" fmla="*/ 967 h 1997"/>
                <a:gd name="T22" fmla="*/ 2023 w 2224"/>
                <a:gd name="T23" fmla="*/ 899 h 1997"/>
                <a:gd name="T24" fmla="*/ 2023 w 2224"/>
                <a:gd name="T25" fmla="*/ 1098 h 1997"/>
                <a:gd name="T26" fmla="*/ 1651 w 2224"/>
                <a:gd name="T27" fmla="*/ 1031 h 1997"/>
                <a:gd name="T28" fmla="*/ 1636 w 2224"/>
                <a:gd name="T29" fmla="*/ 1123 h 1997"/>
                <a:gd name="T30" fmla="*/ 1603 w 2224"/>
                <a:gd name="T31" fmla="*/ 1210 h 1997"/>
                <a:gd name="T32" fmla="*/ 1553 w 2224"/>
                <a:gd name="T33" fmla="*/ 1287 h 1997"/>
                <a:gd name="T34" fmla="*/ 1781 w 2224"/>
                <a:gd name="T35" fmla="*/ 1554 h 1997"/>
                <a:gd name="T36" fmla="*/ 1897 w 2224"/>
                <a:gd name="T37" fmla="*/ 1705 h 1997"/>
                <a:gd name="T38" fmla="*/ 1730 w 2224"/>
                <a:gd name="T39" fmla="*/ 1599 h 1997"/>
                <a:gd name="T40" fmla="*/ 1433 w 2224"/>
                <a:gd name="T41" fmla="*/ 1397 h 1997"/>
                <a:gd name="T42" fmla="*/ 1347 w 2224"/>
                <a:gd name="T43" fmla="*/ 1444 h 1997"/>
                <a:gd name="T44" fmla="*/ 1251 w 2224"/>
                <a:gd name="T45" fmla="*/ 1476 h 1997"/>
                <a:gd name="T46" fmla="*/ 1148 w 2224"/>
                <a:gd name="T47" fmla="*/ 1491 h 1997"/>
                <a:gd name="T48" fmla="*/ 1222 w 2224"/>
                <a:gd name="T49" fmla="*/ 1816 h 1997"/>
                <a:gd name="T50" fmla="*/ 1001 w 2224"/>
                <a:gd name="T51" fmla="*/ 1816 h 1997"/>
                <a:gd name="T52" fmla="*/ 1076 w 2224"/>
                <a:gd name="T53" fmla="*/ 1491 h 1997"/>
                <a:gd name="T54" fmla="*/ 972 w 2224"/>
                <a:gd name="T55" fmla="*/ 1476 h 1997"/>
                <a:gd name="T56" fmla="*/ 876 w 2224"/>
                <a:gd name="T57" fmla="*/ 1444 h 1997"/>
                <a:gd name="T58" fmla="*/ 788 w 2224"/>
                <a:gd name="T59" fmla="*/ 1397 h 1997"/>
                <a:gd name="T60" fmla="*/ 492 w 2224"/>
                <a:gd name="T61" fmla="*/ 1599 h 1997"/>
                <a:gd name="T62" fmla="*/ 324 w 2224"/>
                <a:gd name="T63" fmla="*/ 1705 h 1997"/>
                <a:gd name="T64" fmla="*/ 442 w 2224"/>
                <a:gd name="T65" fmla="*/ 1554 h 1997"/>
                <a:gd name="T66" fmla="*/ 665 w 2224"/>
                <a:gd name="T67" fmla="*/ 1280 h 1997"/>
                <a:gd name="T68" fmla="*/ 609 w 2224"/>
                <a:gd name="T69" fmla="*/ 1189 h 1997"/>
                <a:gd name="T70" fmla="*/ 578 w 2224"/>
                <a:gd name="T71" fmla="*/ 1086 h 1997"/>
                <a:gd name="T72" fmla="*/ 201 w 2224"/>
                <a:gd name="T73" fmla="*/ 1031 h 1997"/>
                <a:gd name="T74" fmla="*/ 0 w 2224"/>
                <a:gd name="T75" fmla="*/ 999 h 1997"/>
                <a:gd name="T76" fmla="*/ 201 w 2224"/>
                <a:gd name="T77" fmla="*/ 967 h 1997"/>
                <a:gd name="T78" fmla="*/ 581 w 2224"/>
                <a:gd name="T79" fmla="*/ 912 h 1997"/>
                <a:gd name="T80" fmla="*/ 616 w 2224"/>
                <a:gd name="T81" fmla="*/ 812 h 1997"/>
                <a:gd name="T82" fmla="*/ 673 w 2224"/>
                <a:gd name="T83" fmla="*/ 722 h 1997"/>
                <a:gd name="T84" fmla="*/ 442 w 2224"/>
                <a:gd name="T85" fmla="*/ 443 h 1997"/>
                <a:gd name="T86" fmla="*/ 324 w 2224"/>
                <a:gd name="T87" fmla="*/ 293 h 1997"/>
                <a:gd name="T88" fmla="*/ 492 w 2224"/>
                <a:gd name="T89" fmla="*/ 397 h 1997"/>
                <a:gd name="T90" fmla="*/ 805 w 2224"/>
                <a:gd name="T91" fmla="*/ 607 h 1997"/>
                <a:gd name="T92" fmla="*/ 905 w 2224"/>
                <a:gd name="T93" fmla="*/ 558 h 1997"/>
                <a:gd name="T94" fmla="*/ 1017 w 2224"/>
                <a:gd name="T95" fmla="*/ 529 h 1997"/>
                <a:gd name="T96" fmla="*/ 1076 w 2224"/>
                <a:gd name="T97" fmla="*/ 181 h 1997"/>
                <a:gd name="T98" fmla="*/ 1111 w 2224"/>
                <a:gd name="T99" fmla="*/ 0 h 19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224" h="1997">
                  <a:moveTo>
                    <a:pt x="1111" y="0"/>
                  </a:moveTo>
                  <a:lnTo>
                    <a:pt x="1222" y="181"/>
                  </a:lnTo>
                  <a:lnTo>
                    <a:pt x="1148" y="181"/>
                  </a:lnTo>
                  <a:lnTo>
                    <a:pt x="1148" y="523"/>
                  </a:lnTo>
                  <a:lnTo>
                    <a:pt x="1206" y="529"/>
                  </a:lnTo>
                  <a:lnTo>
                    <a:pt x="1263" y="541"/>
                  </a:lnTo>
                  <a:lnTo>
                    <a:pt x="1317" y="558"/>
                  </a:lnTo>
                  <a:lnTo>
                    <a:pt x="1368" y="580"/>
                  </a:lnTo>
                  <a:lnTo>
                    <a:pt x="1418" y="607"/>
                  </a:lnTo>
                  <a:lnTo>
                    <a:pt x="1463" y="638"/>
                  </a:lnTo>
                  <a:lnTo>
                    <a:pt x="1730" y="397"/>
                  </a:lnTo>
                  <a:lnTo>
                    <a:pt x="1678" y="350"/>
                  </a:lnTo>
                  <a:lnTo>
                    <a:pt x="1897" y="293"/>
                  </a:lnTo>
                  <a:lnTo>
                    <a:pt x="1833" y="491"/>
                  </a:lnTo>
                  <a:lnTo>
                    <a:pt x="1781" y="443"/>
                  </a:lnTo>
                  <a:lnTo>
                    <a:pt x="1514" y="682"/>
                  </a:lnTo>
                  <a:lnTo>
                    <a:pt x="1550" y="722"/>
                  </a:lnTo>
                  <a:lnTo>
                    <a:pt x="1581" y="766"/>
                  </a:lnTo>
                  <a:lnTo>
                    <a:pt x="1607" y="813"/>
                  </a:lnTo>
                  <a:lnTo>
                    <a:pt x="1627" y="862"/>
                  </a:lnTo>
                  <a:lnTo>
                    <a:pt x="1642" y="913"/>
                  </a:lnTo>
                  <a:lnTo>
                    <a:pt x="1650" y="967"/>
                  </a:lnTo>
                  <a:lnTo>
                    <a:pt x="2023" y="967"/>
                  </a:lnTo>
                  <a:lnTo>
                    <a:pt x="2023" y="899"/>
                  </a:lnTo>
                  <a:lnTo>
                    <a:pt x="2224" y="999"/>
                  </a:lnTo>
                  <a:lnTo>
                    <a:pt x="2023" y="1098"/>
                  </a:lnTo>
                  <a:lnTo>
                    <a:pt x="2023" y="1031"/>
                  </a:lnTo>
                  <a:lnTo>
                    <a:pt x="1651" y="1031"/>
                  </a:lnTo>
                  <a:lnTo>
                    <a:pt x="1646" y="1078"/>
                  </a:lnTo>
                  <a:lnTo>
                    <a:pt x="1636" y="1123"/>
                  </a:lnTo>
                  <a:lnTo>
                    <a:pt x="1622" y="1168"/>
                  </a:lnTo>
                  <a:lnTo>
                    <a:pt x="1603" y="1210"/>
                  </a:lnTo>
                  <a:lnTo>
                    <a:pt x="1580" y="1249"/>
                  </a:lnTo>
                  <a:lnTo>
                    <a:pt x="1553" y="1287"/>
                  </a:lnTo>
                  <a:lnTo>
                    <a:pt x="1522" y="1322"/>
                  </a:lnTo>
                  <a:lnTo>
                    <a:pt x="1781" y="1554"/>
                  </a:lnTo>
                  <a:lnTo>
                    <a:pt x="1833" y="1506"/>
                  </a:lnTo>
                  <a:lnTo>
                    <a:pt x="1897" y="1705"/>
                  </a:lnTo>
                  <a:lnTo>
                    <a:pt x="1678" y="1646"/>
                  </a:lnTo>
                  <a:lnTo>
                    <a:pt x="1730" y="1599"/>
                  </a:lnTo>
                  <a:lnTo>
                    <a:pt x="1473" y="1369"/>
                  </a:lnTo>
                  <a:lnTo>
                    <a:pt x="1433" y="1397"/>
                  </a:lnTo>
                  <a:lnTo>
                    <a:pt x="1391" y="1422"/>
                  </a:lnTo>
                  <a:lnTo>
                    <a:pt x="1347" y="1444"/>
                  </a:lnTo>
                  <a:lnTo>
                    <a:pt x="1300" y="1462"/>
                  </a:lnTo>
                  <a:lnTo>
                    <a:pt x="1251" y="1476"/>
                  </a:lnTo>
                  <a:lnTo>
                    <a:pt x="1200" y="1485"/>
                  </a:lnTo>
                  <a:lnTo>
                    <a:pt x="1148" y="1491"/>
                  </a:lnTo>
                  <a:lnTo>
                    <a:pt x="1148" y="1816"/>
                  </a:lnTo>
                  <a:lnTo>
                    <a:pt x="1222" y="1816"/>
                  </a:lnTo>
                  <a:lnTo>
                    <a:pt x="1111" y="1997"/>
                  </a:lnTo>
                  <a:lnTo>
                    <a:pt x="1001" y="1816"/>
                  </a:lnTo>
                  <a:lnTo>
                    <a:pt x="1076" y="1816"/>
                  </a:lnTo>
                  <a:lnTo>
                    <a:pt x="1076" y="1491"/>
                  </a:lnTo>
                  <a:lnTo>
                    <a:pt x="1022" y="1485"/>
                  </a:lnTo>
                  <a:lnTo>
                    <a:pt x="972" y="1476"/>
                  </a:lnTo>
                  <a:lnTo>
                    <a:pt x="923" y="1462"/>
                  </a:lnTo>
                  <a:lnTo>
                    <a:pt x="876" y="1444"/>
                  </a:lnTo>
                  <a:lnTo>
                    <a:pt x="831" y="1422"/>
                  </a:lnTo>
                  <a:lnTo>
                    <a:pt x="788" y="1397"/>
                  </a:lnTo>
                  <a:lnTo>
                    <a:pt x="749" y="1369"/>
                  </a:lnTo>
                  <a:lnTo>
                    <a:pt x="492" y="1599"/>
                  </a:lnTo>
                  <a:lnTo>
                    <a:pt x="546" y="1647"/>
                  </a:lnTo>
                  <a:lnTo>
                    <a:pt x="324" y="1705"/>
                  </a:lnTo>
                  <a:lnTo>
                    <a:pt x="389" y="1506"/>
                  </a:lnTo>
                  <a:lnTo>
                    <a:pt x="442" y="1554"/>
                  </a:lnTo>
                  <a:lnTo>
                    <a:pt x="700" y="1321"/>
                  </a:lnTo>
                  <a:lnTo>
                    <a:pt x="665" y="1280"/>
                  </a:lnTo>
                  <a:lnTo>
                    <a:pt x="635" y="1236"/>
                  </a:lnTo>
                  <a:lnTo>
                    <a:pt x="609" y="1189"/>
                  </a:lnTo>
                  <a:lnTo>
                    <a:pt x="590" y="1138"/>
                  </a:lnTo>
                  <a:lnTo>
                    <a:pt x="578" y="1086"/>
                  </a:lnTo>
                  <a:lnTo>
                    <a:pt x="571" y="1031"/>
                  </a:lnTo>
                  <a:lnTo>
                    <a:pt x="201" y="1031"/>
                  </a:lnTo>
                  <a:lnTo>
                    <a:pt x="201" y="1098"/>
                  </a:lnTo>
                  <a:lnTo>
                    <a:pt x="0" y="999"/>
                  </a:lnTo>
                  <a:lnTo>
                    <a:pt x="201" y="899"/>
                  </a:lnTo>
                  <a:lnTo>
                    <a:pt x="201" y="967"/>
                  </a:lnTo>
                  <a:lnTo>
                    <a:pt x="572" y="967"/>
                  </a:lnTo>
                  <a:lnTo>
                    <a:pt x="581" y="912"/>
                  </a:lnTo>
                  <a:lnTo>
                    <a:pt x="596" y="861"/>
                  </a:lnTo>
                  <a:lnTo>
                    <a:pt x="616" y="812"/>
                  </a:lnTo>
                  <a:lnTo>
                    <a:pt x="641" y="765"/>
                  </a:lnTo>
                  <a:lnTo>
                    <a:pt x="673" y="722"/>
                  </a:lnTo>
                  <a:lnTo>
                    <a:pt x="709" y="682"/>
                  </a:lnTo>
                  <a:lnTo>
                    <a:pt x="442" y="443"/>
                  </a:lnTo>
                  <a:lnTo>
                    <a:pt x="389" y="491"/>
                  </a:lnTo>
                  <a:lnTo>
                    <a:pt x="324" y="293"/>
                  </a:lnTo>
                  <a:lnTo>
                    <a:pt x="546" y="350"/>
                  </a:lnTo>
                  <a:lnTo>
                    <a:pt x="492" y="397"/>
                  </a:lnTo>
                  <a:lnTo>
                    <a:pt x="760" y="638"/>
                  </a:lnTo>
                  <a:lnTo>
                    <a:pt x="805" y="607"/>
                  </a:lnTo>
                  <a:lnTo>
                    <a:pt x="853" y="580"/>
                  </a:lnTo>
                  <a:lnTo>
                    <a:pt x="905" y="558"/>
                  </a:lnTo>
                  <a:lnTo>
                    <a:pt x="960" y="541"/>
                  </a:lnTo>
                  <a:lnTo>
                    <a:pt x="1017" y="529"/>
                  </a:lnTo>
                  <a:lnTo>
                    <a:pt x="1076" y="523"/>
                  </a:lnTo>
                  <a:lnTo>
                    <a:pt x="1076" y="181"/>
                  </a:lnTo>
                  <a:lnTo>
                    <a:pt x="1001" y="181"/>
                  </a:lnTo>
                  <a:lnTo>
                    <a:pt x="111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17">
              <a:extLst>
                <a:ext uri="{FF2B5EF4-FFF2-40B4-BE49-F238E27FC236}">
                  <a16:creationId xmlns:a16="http://schemas.microsoft.com/office/drawing/2014/main" id="{E8A4095F-0F75-D3A8-0620-27753BF9D7CD}"/>
                </a:ext>
              </a:extLst>
            </p:cNvPr>
            <p:cNvSpPr>
              <a:spLocks/>
            </p:cNvSpPr>
            <p:nvPr/>
          </p:nvSpPr>
          <p:spPr bwMode="auto">
            <a:xfrm>
              <a:off x="-668338" y="2700338"/>
              <a:ext cx="104775" cy="109538"/>
            </a:xfrm>
            <a:custGeom>
              <a:avLst/>
              <a:gdLst>
                <a:gd name="T0" fmla="*/ 267 w 534"/>
                <a:gd name="T1" fmla="*/ 0 h 479"/>
                <a:gd name="T2" fmla="*/ 310 w 534"/>
                <a:gd name="T3" fmla="*/ 3 h 479"/>
                <a:gd name="T4" fmla="*/ 351 w 534"/>
                <a:gd name="T5" fmla="*/ 12 h 479"/>
                <a:gd name="T6" fmla="*/ 390 w 534"/>
                <a:gd name="T7" fmla="*/ 27 h 479"/>
                <a:gd name="T8" fmla="*/ 424 w 534"/>
                <a:gd name="T9" fmla="*/ 47 h 479"/>
                <a:gd name="T10" fmla="*/ 456 w 534"/>
                <a:gd name="T11" fmla="*/ 71 h 479"/>
                <a:gd name="T12" fmla="*/ 483 w 534"/>
                <a:gd name="T13" fmla="*/ 98 h 479"/>
                <a:gd name="T14" fmla="*/ 504 w 534"/>
                <a:gd name="T15" fmla="*/ 129 h 479"/>
                <a:gd name="T16" fmla="*/ 521 w 534"/>
                <a:gd name="T17" fmla="*/ 164 h 479"/>
                <a:gd name="T18" fmla="*/ 531 w 534"/>
                <a:gd name="T19" fmla="*/ 200 h 479"/>
                <a:gd name="T20" fmla="*/ 534 w 534"/>
                <a:gd name="T21" fmla="*/ 240 h 479"/>
                <a:gd name="T22" fmla="*/ 531 w 534"/>
                <a:gd name="T23" fmla="*/ 278 h 479"/>
                <a:gd name="T24" fmla="*/ 521 w 534"/>
                <a:gd name="T25" fmla="*/ 315 h 479"/>
                <a:gd name="T26" fmla="*/ 504 w 534"/>
                <a:gd name="T27" fmla="*/ 349 h 479"/>
                <a:gd name="T28" fmla="*/ 483 w 534"/>
                <a:gd name="T29" fmla="*/ 380 h 479"/>
                <a:gd name="T30" fmla="*/ 456 w 534"/>
                <a:gd name="T31" fmla="*/ 409 h 479"/>
                <a:gd name="T32" fmla="*/ 424 w 534"/>
                <a:gd name="T33" fmla="*/ 433 h 479"/>
                <a:gd name="T34" fmla="*/ 390 w 534"/>
                <a:gd name="T35" fmla="*/ 453 h 479"/>
                <a:gd name="T36" fmla="*/ 351 w 534"/>
                <a:gd name="T37" fmla="*/ 467 h 479"/>
                <a:gd name="T38" fmla="*/ 310 w 534"/>
                <a:gd name="T39" fmla="*/ 476 h 479"/>
                <a:gd name="T40" fmla="*/ 267 w 534"/>
                <a:gd name="T41" fmla="*/ 479 h 479"/>
                <a:gd name="T42" fmla="*/ 224 w 534"/>
                <a:gd name="T43" fmla="*/ 476 h 479"/>
                <a:gd name="T44" fmla="*/ 182 w 534"/>
                <a:gd name="T45" fmla="*/ 467 h 479"/>
                <a:gd name="T46" fmla="*/ 144 w 534"/>
                <a:gd name="T47" fmla="*/ 453 h 479"/>
                <a:gd name="T48" fmla="*/ 110 w 534"/>
                <a:gd name="T49" fmla="*/ 433 h 479"/>
                <a:gd name="T50" fmla="*/ 78 w 534"/>
                <a:gd name="T51" fmla="*/ 409 h 479"/>
                <a:gd name="T52" fmla="*/ 51 w 534"/>
                <a:gd name="T53" fmla="*/ 380 h 479"/>
                <a:gd name="T54" fmla="*/ 30 w 534"/>
                <a:gd name="T55" fmla="*/ 349 h 479"/>
                <a:gd name="T56" fmla="*/ 13 w 534"/>
                <a:gd name="T57" fmla="*/ 315 h 479"/>
                <a:gd name="T58" fmla="*/ 3 w 534"/>
                <a:gd name="T59" fmla="*/ 278 h 479"/>
                <a:gd name="T60" fmla="*/ 0 w 534"/>
                <a:gd name="T61" fmla="*/ 240 h 479"/>
                <a:gd name="T62" fmla="*/ 3 w 534"/>
                <a:gd name="T63" fmla="*/ 200 h 479"/>
                <a:gd name="T64" fmla="*/ 13 w 534"/>
                <a:gd name="T65" fmla="*/ 164 h 479"/>
                <a:gd name="T66" fmla="*/ 30 w 534"/>
                <a:gd name="T67" fmla="*/ 129 h 479"/>
                <a:gd name="T68" fmla="*/ 51 w 534"/>
                <a:gd name="T69" fmla="*/ 98 h 479"/>
                <a:gd name="T70" fmla="*/ 78 w 534"/>
                <a:gd name="T71" fmla="*/ 71 h 479"/>
                <a:gd name="T72" fmla="*/ 110 w 534"/>
                <a:gd name="T73" fmla="*/ 47 h 479"/>
                <a:gd name="T74" fmla="*/ 144 w 534"/>
                <a:gd name="T75" fmla="*/ 27 h 479"/>
                <a:gd name="T76" fmla="*/ 182 w 534"/>
                <a:gd name="T77" fmla="*/ 12 h 479"/>
                <a:gd name="T78" fmla="*/ 224 w 534"/>
                <a:gd name="T79" fmla="*/ 3 h 479"/>
                <a:gd name="T80" fmla="*/ 267 w 534"/>
                <a:gd name="T81" fmla="*/ 0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34" h="479">
                  <a:moveTo>
                    <a:pt x="267" y="0"/>
                  </a:moveTo>
                  <a:lnTo>
                    <a:pt x="310" y="3"/>
                  </a:lnTo>
                  <a:lnTo>
                    <a:pt x="351" y="12"/>
                  </a:lnTo>
                  <a:lnTo>
                    <a:pt x="390" y="27"/>
                  </a:lnTo>
                  <a:lnTo>
                    <a:pt x="424" y="47"/>
                  </a:lnTo>
                  <a:lnTo>
                    <a:pt x="456" y="71"/>
                  </a:lnTo>
                  <a:lnTo>
                    <a:pt x="483" y="98"/>
                  </a:lnTo>
                  <a:lnTo>
                    <a:pt x="504" y="129"/>
                  </a:lnTo>
                  <a:lnTo>
                    <a:pt x="521" y="164"/>
                  </a:lnTo>
                  <a:lnTo>
                    <a:pt x="531" y="200"/>
                  </a:lnTo>
                  <a:lnTo>
                    <a:pt x="534" y="240"/>
                  </a:lnTo>
                  <a:lnTo>
                    <a:pt x="531" y="278"/>
                  </a:lnTo>
                  <a:lnTo>
                    <a:pt x="521" y="315"/>
                  </a:lnTo>
                  <a:lnTo>
                    <a:pt x="504" y="349"/>
                  </a:lnTo>
                  <a:lnTo>
                    <a:pt x="483" y="380"/>
                  </a:lnTo>
                  <a:lnTo>
                    <a:pt x="456" y="409"/>
                  </a:lnTo>
                  <a:lnTo>
                    <a:pt x="424" y="433"/>
                  </a:lnTo>
                  <a:lnTo>
                    <a:pt x="390" y="453"/>
                  </a:lnTo>
                  <a:lnTo>
                    <a:pt x="351" y="467"/>
                  </a:lnTo>
                  <a:lnTo>
                    <a:pt x="310" y="476"/>
                  </a:lnTo>
                  <a:lnTo>
                    <a:pt x="267" y="479"/>
                  </a:lnTo>
                  <a:lnTo>
                    <a:pt x="224" y="476"/>
                  </a:lnTo>
                  <a:lnTo>
                    <a:pt x="182" y="467"/>
                  </a:lnTo>
                  <a:lnTo>
                    <a:pt x="144" y="453"/>
                  </a:lnTo>
                  <a:lnTo>
                    <a:pt x="110" y="433"/>
                  </a:lnTo>
                  <a:lnTo>
                    <a:pt x="78" y="409"/>
                  </a:lnTo>
                  <a:lnTo>
                    <a:pt x="51" y="380"/>
                  </a:lnTo>
                  <a:lnTo>
                    <a:pt x="30" y="349"/>
                  </a:lnTo>
                  <a:lnTo>
                    <a:pt x="13" y="315"/>
                  </a:lnTo>
                  <a:lnTo>
                    <a:pt x="3" y="278"/>
                  </a:lnTo>
                  <a:lnTo>
                    <a:pt x="0" y="240"/>
                  </a:lnTo>
                  <a:lnTo>
                    <a:pt x="3" y="200"/>
                  </a:lnTo>
                  <a:lnTo>
                    <a:pt x="13" y="164"/>
                  </a:lnTo>
                  <a:lnTo>
                    <a:pt x="30" y="129"/>
                  </a:lnTo>
                  <a:lnTo>
                    <a:pt x="51" y="98"/>
                  </a:lnTo>
                  <a:lnTo>
                    <a:pt x="78" y="71"/>
                  </a:lnTo>
                  <a:lnTo>
                    <a:pt x="110" y="47"/>
                  </a:lnTo>
                  <a:lnTo>
                    <a:pt x="144" y="27"/>
                  </a:lnTo>
                  <a:lnTo>
                    <a:pt x="182" y="12"/>
                  </a:lnTo>
                  <a:lnTo>
                    <a:pt x="224" y="3"/>
                  </a:lnTo>
                  <a:lnTo>
                    <a:pt x="26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18">
              <a:extLst>
                <a:ext uri="{FF2B5EF4-FFF2-40B4-BE49-F238E27FC236}">
                  <a16:creationId xmlns:a16="http://schemas.microsoft.com/office/drawing/2014/main" id="{B6BF7233-6D79-A2E3-0AB1-8DC09590C622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77913" y="3119438"/>
              <a:ext cx="106362" cy="109538"/>
            </a:xfrm>
            <a:custGeom>
              <a:avLst/>
              <a:gdLst>
                <a:gd name="T0" fmla="*/ 266 w 534"/>
                <a:gd name="T1" fmla="*/ 0 h 481"/>
                <a:gd name="T2" fmla="*/ 310 w 534"/>
                <a:gd name="T3" fmla="*/ 4 h 481"/>
                <a:gd name="T4" fmla="*/ 351 w 534"/>
                <a:gd name="T5" fmla="*/ 13 h 481"/>
                <a:gd name="T6" fmla="*/ 390 w 534"/>
                <a:gd name="T7" fmla="*/ 28 h 481"/>
                <a:gd name="T8" fmla="*/ 424 w 534"/>
                <a:gd name="T9" fmla="*/ 48 h 481"/>
                <a:gd name="T10" fmla="*/ 456 w 534"/>
                <a:gd name="T11" fmla="*/ 71 h 481"/>
                <a:gd name="T12" fmla="*/ 483 w 534"/>
                <a:gd name="T13" fmla="*/ 99 h 481"/>
                <a:gd name="T14" fmla="*/ 504 w 534"/>
                <a:gd name="T15" fmla="*/ 130 h 481"/>
                <a:gd name="T16" fmla="*/ 521 w 534"/>
                <a:gd name="T17" fmla="*/ 165 h 481"/>
                <a:gd name="T18" fmla="*/ 531 w 534"/>
                <a:gd name="T19" fmla="*/ 202 h 481"/>
                <a:gd name="T20" fmla="*/ 534 w 534"/>
                <a:gd name="T21" fmla="*/ 241 h 481"/>
                <a:gd name="T22" fmla="*/ 531 w 534"/>
                <a:gd name="T23" fmla="*/ 280 h 481"/>
                <a:gd name="T24" fmla="*/ 521 w 534"/>
                <a:gd name="T25" fmla="*/ 316 h 481"/>
                <a:gd name="T26" fmla="*/ 504 w 534"/>
                <a:gd name="T27" fmla="*/ 350 h 481"/>
                <a:gd name="T28" fmla="*/ 483 w 534"/>
                <a:gd name="T29" fmla="*/ 382 h 481"/>
                <a:gd name="T30" fmla="*/ 456 w 534"/>
                <a:gd name="T31" fmla="*/ 411 h 481"/>
                <a:gd name="T32" fmla="*/ 424 w 534"/>
                <a:gd name="T33" fmla="*/ 434 h 481"/>
                <a:gd name="T34" fmla="*/ 390 w 534"/>
                <a:gd name="T35" fmla="*/ 454 h 481"/>
                <a:gd name="T36" fmla="*/ 351 w 534"/>
                <a:gd name="T37" fmla="*/ 468 h 481"/>
                <a:gd name="T38" fmla="*/ 310 w 534"/>
                <a:gd name="T39" fmla="*/ 477 h 481"/>
                <a:gd name="T40" fmla="*/ 266 w 534"/>
                <a:gd name="T41" fmla="*/ 481 h 481"/>
                <a:gd name="T42" fmla="*/ 224 w 534"/>
                <a:gd name="T43" fmla="*/ 477 h 481"/>
                <a:gd name="T44" fmla="*/ 182 w 534"/>
                <a:gd name="T45" fmla="*/ 468 h 481"/>
                <a:gd name="T46" fmla="*/ 144 w 534"/>
                <a:gd name="T47" fmla="*/ 454 h 481"/>
                <a:gd name="T48" fmla="*/ 109 w 534"/>
                <a:gd name="T49" fmla="*/ 434 h 481"/>
                <a:gd name="T50" fmla="*/ 78 w 534"/>
                <a:gd name="T51" fmla="*/ 411 h 481"/>
                <a:gd name="T52" fmla="*/ 51 w 534"/>
                <a:gd name="T53" fmla="*/ 382 h 481"/>
                <a:gd name="T54" fmla="*/ 30 w 534"/>
                <a:gd name="T55" fmla="*/ 350 h 481"/>
                <a:gd name="T56" fmla="*/ 14 w 534"/>
                <a:gd name="T57" fmla="*/ 316 h 481"/>
                <a:gd name="T58" fmla="*/ 4 w 534"/>
                <a:gd name="T59" fmla="*/ 280 h 481"/>
                <a:gd name="T60" fmla="*/ 0 w 534"/>
                <a:gd name="T61" fmla="*/ 241 h 481"/>
                <a:gd name="T62" fmla="*/ 4 w 534"/>
                <a:gd name="T63" fmla="*/ 202 h 481"/>
                <a:gd name="T64" fmla="*/ 14 w 534"/>
                <a:gd name="T65" fmla="*/ 165 h 481"/>
                <a:gd name="T66" fmla="*/ 30 w 534"/>
                <a:gd name="T67" fmla="*/ 130 h 481"/>
                <a:gd name="T68" fmla="*/ 51 w 534"/>
                <a:gd name="T69" fmla="*/ 99 h 481"/>
                <a:gd name="T70" fmla="*/ 78 w 534"/>
                <a:gd name="T71" fmla="*/ 71 h 481"/>
                <a:gd name="T72" fmla="*/ 109 w 534"/>
                <a:gd name="T73" fmla="*/ 48 h 481"/>
                <a:gd name="T74" fmla="*/ 144 w 534"/>
                <a:gd name="T75" fmla="*/ 28 h 481"/>
                <a:gd name="T76" fmla="*/ 182 w 534"/>
                <a:gd name="T77" fmla="*/ 13 h 481"/>
                <a:gd name="T78" fmla="*/ 224 w 534"/>
                <a:gd name="T79" fmla="*/ 4 h 481"/>
                <a:gd name="T80" fmla="*/ 266 w 534"/>
                <a:gd name="T81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34" h="481">
                  <a:moveTo>
                    <a:pt x="266" y="0"/>
                  </a:moveTo>
                  <a:lnTo>
                    <a:pt x="310" y="4"/>
                  </a:lnTo>
                  <a:lnTo>
                    <a:pt x="351" y="13"/>
                  </a:lnTo>
                  <a:lnTo>
                    <a:pt x="390" y="28"/>
                  </a:lnTo>
                  <a:lnTo>
                    <a:pt x="424" y="48"/>
                  </a:lnTo>
                  <a:lnTo>
                    <a:pt x="456" y="71"/>
                  </a:lnTo>
                  <a:lnTo>
                    <a:pt x="483" y="99"/>
                  </a:lnTo>
                  <a:lnTo>
                    <a:pt x="504" y="130"/>
                  </a:lnTo>
                  <a:lnTo>
                    <a:pt x="521" y="165"/>
                  </a:lnTo>
                  <a:lnTo>
                    <a:pt x="531" y="202"/>
                  </a:lnTo>
                  <a:lnTo>
                    <a:pt x="534" y="241"/>
                  </a:lnTo>
                  <a:lnTo>
                    <a:pt x="531" y="280"/>
                  </a:lnTo>
                  <a:lnTo>
                    <a:pt x="521" y="316"/>
                  </a:lnTo>
                  <a:lnTo>
                    <a:pt x="504" y="350"/>
                  </a:lnTo>
                  <a:lnTo>
                    <a:pt x="483" y="382"/>
                  </a:lnTo>
                  <a:lnTo>
                    <a:pt x="456" y="411"/>
                  </a:lnTo>
                  <a:lnTo>
                    <a:pt x="424" y="434"/>
                  </a:lnTo>
                  <a:lnTo>
                    <a:pt x="390" y="454"/>
                  </a:lnTo>
                  <a:lnTo>
                    <a:pt x="351" y="468"/>
                  </a:lnTo>
                  <a:lnTo>
                    <a:pt x="310" y="477"/>
                  </a:lnTo>
                  <a:lnTo>
                    <a:pt x="266" y="481"/>
                  </a:lnTo>
                  <a:lnTo>
                    <a:pt x="224" y="477"/>
                  </a:lnTo>
                  <a:lnTo>
                    <a:pt x="182" y="468"/>
                  </a:lnTo>
                  <a:lnTo>
                    <a:pt x="144" y="454"/>
                  </a:lnTo>
                  <a:lnTo>
                    <a:pt x="109" y="434"/>
                  </a:lnTo>
                  <a:lnTo>
                    <a:pt x="78" y="411"/>
                  </a:lnTo>
                  <a:lnTo>
                    <a:pt x="51" y="382"/>
                  </a:lnTo>
                  <a:lnTo>
                    <a:pt x="30" y="350"/>
                  </a:lnTo>
                  <a:lnTo>
                    <a:pt x="14" y="316"/>
                  </a:lnTo>
                  <a:lnTo>
                    <a:pt x="4" y="280"/>
                  </a:lnTo>
                  <a:lnTo>
                    <a:pt x="0" y="241"/>
                  </a:lnTo>
                  <a:lnTo>
                    <a:pt x="4" y="202"/>
                  </a:lnTo>
                  <a:lnTo>
                    <a:pt x="14" y="165"/>
                  </a:lnTo>
                  <a:lnTo>
                    <a:pt x="30" y="130"/>
                  </a:lnTo>
                  <a:lnTo>
                    <a:pt x="51" y="99"/>
                  </a:lnTo>
                  <a:lnTo>
                    <a:pt x="78" y="71"/>
                  </a:lnTo>
                  <a:lnTo>
                    <a:pt x="109" y="48"/>
                  </a:lnTo>
                  <a:lnTo>
                    <a:pt x="144" y="28"/>
                  </a:lnTo>
                  <a:lnTo>
                    <a:pt x="182" y="13"/>
                  </a:lnTo>
                  <a:lnTo>
                    <a:pt x="224" y="4"/>
                  </a:lnTo>
                  <a:lnTo>
                    <a:pt x="2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19">
              <a:extLst>
                <a:ext uri="{FF2B5EF4-FFF2-40B4-BE49-F238E27FC236}">
                  <a16:creationId xmlns:a16="http://schemas.microsoft.com/office/drawing/2014/main" id="{E33A8667-240C-7A00-742B-F791D0E11854}"/>
                </a:ext>
              </a:extLst>
            </p:cNvPr>
            <p:cNvSpPr>
              <a:spLocks/>
            </p:cNvSpPr>
            <p:nvPr/>
          </p:nvSpPr>
          <p:spPr bwMode="auto">
            <a:xfrm>
              <a:off x="-668338" y="3119438"/>
              <a:ext cx="104775" cy="109538"/>
            </a:xfrm>
            <a:custGeom>
              <a:avLst/>
              <a:gdLst>
                <a:gd name="T0" fmla="*/ 267 w 534"/>
                <a:gd name="T1" fmla="*/ 0 h 481"/>
                <a:gd name="T2" fmla="*/ 310 w 534"/>
                <a:gd name="T3" fmla="*/ 4 h 481"/>
                <a:gd name="T4" fmla="*/ 351 w 534"/>
                <a:gd name="T5" fmla="*/ 13 h 481"/>
                <a:gd name="T6" fmla="*/ 390 w 534"/>
                <a:gd name="T7" fmla="*/ 28 h 481"/>
                <a:gd name="T8" fmla="*/ 424 w 534"/>
                <a:gd name="T9" fmla="*/ 48 h 481"/>
                <a:gd name="T10" fmla="*/ 456 w 534"/>
                <a:gd name="T11" fmla="*/ 71 h 481"/>
                <a:gd name="T12" fmla="*/ 483 w 534"/>
                <a:gd name="T13" fmla="*/ 99 h 481"/>
                <a:gd name="T14" fmla="*/ 504 w 534"/>
                <a:gd name="T15" fmla="*/ 130 h 481"/>
                <a:gd name="T16" fmla="*/ 521 w 534"/>
                <a:gd name="T17" fmla="*/ 165 h 481"/>
                <a:gd name="T18" fmla="*/ 531 w 534"/>
                <a:gd name="T19" fmla="*/ 202 h 481"/>
                <a:gd name="T20" fmla="*/ 534 w 534"/>
                <a:gd name="T21" fmla="*/ 241 h 481"/>
                <a:gd name="T22" fmla="*/ 531 w 534"/>
                <a:gd name="T23" fmla="*/ 280 h 481"/>
                <a:gd name="T24" fmla="*/ 521 w 534"/>
                <a:gd name="T25" fmla="*/ 316 h 481"/>
                <a:gd name="T26" fmla="*/ 504 w 534"/>
                <a:gd name="T27" fmla="*/ 350 h 481"/>
                <a:gd name="T28" fmla="*/ 483 w 534"/>
                <a:gd name="T29" fmla="*/ 382 h 481"/>
                <a:gd name="T30" fmla="*/ 456 w 534"/>
                <a:gd name="T31" fmla="*/ 411 h 481"/>
                <a:gd name="T32" fmla="*/ 424 w 534"/>
                <a:gd name="T33" fmla="*/ 434 h 481"/>
                <a:gd name="T34" fmla="*/ 390 w 534"/>
                <a:gd name="T35" fmla="*/ 454 h 481"/>
                <a:gd name="T36" fmla="*/ 351 w 534"/>
                <a:gd name="T37" fmla="*/ 468 h 481"/>
                <a:gd name="T38" fmla="*/ 310 w 534"/>
                <a:gd name="T39" fmla="*/ 477 h 481"/>
                <a:gd name="T40" fmla="*/ 267 w 534"/>
                <a:gd name="T41" fmla="*/ 481 h 481"/>
                <a:gd name="T42" fmla="*/ 224 w 534"/>
                <a:gd name="T43" fmla="*/ 477 h 481"/>
                <a:gd name="T44" fmla="*/ 182 w 534"/>
                <a:gd name="T45" fmla="*/ 468 h 481"/>
                <a:gd name="T46" fmla="*/ 144 w 534"/>
                <a:gd name="T47" fmla="*/ 454 h 481"/>
                <a:gd name="T48" fmla="*/ 110 w 534"/>
                <a:gd name="T49" fmla="*/ 434 h 481"/>
                <a:gd name="T50" fmla="*/ 78 w 534"/>
                <a:gd name="T51" fmla="*/ 411 h 481"/>
                <a:gd name="T52" fmla="*/ 51 w 534"/>
                <a:gd name="T53" fmla="*/ 382 h 481"/>
                <a:gd name="T54" fmla="*/ 30 w 534"/>
                <a:gd name="T55" fmla="*/ 350 h 481"/>
                <a:gd name="T56" fmla="*/ 13 w 534"/>
                <a:gd name="T57" fmla="*/ 316 h 481"/>
                <a:gd name="T58" fmla="*/ 3 w 534"/>
                <a:gd name="T59" fmla="*/ 280 h 481"/>
                <a:gd name="T60" fmla="*/ 0 w 534"/>
                <a:gd name="T61" fmla="*/ 241 h 481"/>
                <a:gd name="T62" fmla="*/ 3 w 534"/>
                <a:gd name="T63" fmla="*/ 202 h 481"/>
                <a:gd name="T64" fmla="*/ 13 w 534"/>
                <a:gd name="T65" fmla="*/ 165 h 481"/>
                <a:gd name="T66" fmla="*/ 30 w 534"/>
                <a:gd name="T67" fmla="*/ 130 h 481"/>
                <a:gd name="T68" fmla="*/ 51 w 534"/>
                <a:gd name="T69" fmla="*/ 99 h 481"/>
                <a:gd name="T70" fmla="*/ 78 w 534"/>
                <a:gd name="T71" fmla="*/ 71 h 481"/>
                <a:gd name="T72" fmla="*/ 110 w 534"/>
                <a:gd name="T73" fmla="*/ 48 h 481"/>
                <a:gd name="T74" fmla="*/ 144 w 534"/>
                <a:gd name="T75" fmla="*/ 28 h 481"/>
                <a:gd name="T76" fmla="*/ 182 w 534"/>
                <a:gd name="T77" fmla="*/ 13 h 481"/>
                <a:gd name="T78" fmla="*/ 224 w 534"/>
                <a:gd name="T79" fmla="*/ 4 h 481"/>
                <a:gd name="T80" fmla="*/ 267 w 534"/>
                <a:gd name="T81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34" h="481">
                  <a:moveTo>
                    <a:pt x="267" y="0"/>
                  </a:moveTo>
                  <a:lnTo>
                    <a:pt x="310" y="4"/>
                  </a:lnTo>
                  <a:lnTo>
                    <a:pt x="351" y="13"/>
                  </a:lnTo>
                  <a:lnTo>
                    <a:pt x="390" y="28"/>
                  </a:lnTo>
                  <a:lnTo>
                    <a:pt x="424" y="48"/>
                  </a:lnTo>
                  <a:lnTo>
                    <a:pt x="456" y="71"/>
                  </a:lnTo>
                  <a:lnTo>
                    <a:pt x="483" y="99"/>
                  </a:lnTo>
                  <a:lnTo>
                    <a:pt x="504" y="130"/>
                  </a:lnTo>
                  <a:lnTo>
                    <a:pt x="521" y="165"/>
                  </a:lnTo>
                  <a:lnTo>
                    <a:pt x="531" y="202"/>
                  </a:lnTo>
                  <a:lnTo>
                    <a:pt x="534" y="241"/>
                  </a:lnTo>
                  <a:lnTo>
                    <a:pt x="531" y="280"/>
                  </a:lnTo>
                  <a:lnTo>
                    <a:pt x="521" y="316"/>
                  </a:lnTo>
                  <a:lnTo>
                    <a:pt x="504" y="350"/>
                  </a:lnTo>
                  <a:lnTo>
                    <a:pt x="483" y="382"/>
                  </a:lnTo>
                  <a:lnTo>
                    <a:pt x="456" y="411"/>
                  </a:lnTo>
                  <a:lnTo>
                    <a:pt x="424" y="434"/>
                  </a:lnTo>
                  <a:lnTo>
                    <a:pt x="390" y="454"/>
                  </a:lnTo>
                  <a:lnTo>
                    <a:pt x="351" y="468"/>
                  </a:lnTo>
                  <a:lnTo>
                    <a:pt x="310" y="477"/>
                  </a:lnTo>
                  <a:lnTo>
                    <a:pt x="267" y="481"/>
                  </a:lnTo>
                  <a:lnTo>
                    <a:pt x="224" y="477"/>
                  </a:lnTo>
                  <a:lnTo>
                    <a:pt x="182" y="468"/>
                  </a:lnTo>
                  <a:lnTo>
                    <a:pt x="144" y="454"/>
                  </a:lnTo>
                  <a:lnTo>
                    <a:pt x="110" y="434"/>
                  </a:lnTo>
                  <a:lnTo>
                    <a:pt x="78" y="411"/>
                  </a:lnTo>
                  <a:lnTo>
                    <a:pt x="51" y="382"/>
                  </a:lnTo>
                  <a:lnTo>
                    <a:pt x="30" y="350"/>
                  </a:lnTo>
                  <a:lnTo>
                    <a:pt x="13" y="316"/>
                  </a:lnTo>
                  <a:lnTo>
                    <a:pt x="3" y="280"/>
                  </a:lnTo>
                  <a:lnTo>
                    <a:pt x="0" y="241"/>
                  </a:lnTo>
                  <a:lnTo>
                    <a:pt x="3" y="202"/>
                  </a:lnTo>
                  <a:lnTo>
                    <a:pt x="13" y="165"/>
                  </a:lnTo>
                  <a:lnTo>
                    <a:pt x="30" y="130"/>
                  </a:lnTo>
                  <a:lnTo>
                    <a:pt x="51" y="99"/>
                  </a:lnTo>
                  <a:lnTo>
                    <a:pt x="78" y="71"/>
                  </a:lnTo>
                  <a:lnTo>
                    <a:pt x="110" y="48"/>
                  </a:lnTo>
                  <a:lnTo>
                    <a:pt x="144" y="28"/>
                  </a:lnTo>
                  <a:lnTo>
                    <a:pt x="182" y="13"/>
                  </a:lnTo>
                  <a:lnTo>
                    <a:pt x="224" y="4"/>
                  </a:lnTo>
                  <a:lnTo>
                    <a:pt x="26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120">
              <a:extLst>
                <a:ext uri="{FF2B5EF4-FFF2-40B4-BE49-F238E27FC236}">
                  <a16:creationId xmlns:a16="http://schemas.microsoft.com/office/drawing/2014/main" id="{C6D75E38-150B-AC89-3FB9-E57BBEA21F56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77913" y="2700338"/>
              <a:ext cx="106362" cy="109538"/>
            </a:xfrm>
            <a:custGeom>
              <a:avLst/>
              <a:gdLst>
                <a:gd name="T0" fmla="*/ 266 w 534"/>
                <a:gd name="T1" fmla="*/ 0 h 480"/>
                <a:gd name="T2" fmla="*/ 310 w 534"/>
                <a:gd name="T3" fmla="*/ 3 h 480"/>
                <a:gd name="T4" fmla="*/ 351 w 534"/>
                <a:gd name="T5" fmla="*/ 12 h 480"/>
                <a:gd name="T6" fmla="*/ 390 w 534"/>
                <a:gd name="T7" fmla="*/ 28 h 480"/>
                <a:gd name="T8" fmla="*/ 424 w 534"/>
                <a:gd name="T9" fmla="*/ 47 h 480"/>
                <a:gd name="T10" fmla="*/ 456 w 534"/>
                <a:gd name="T11" fmla="*/ 71 h 480"/>
                <a:gd name="T12" fmla="*/ 483 w 534"/>
                <a:gd name="T13" fmla="*/ 99 h 480"/>
                <a:gd name="T14" fmla="*/ 504 w 534"/>
                <a:gd name="T15" fmla="*/ 130 h 480"/>
                <a:gd name="T16" fmla="*/ 521 w 534"/>
                <a:gd name="T17" fmla="*/ 165 h 480"/>
                <a:gd name="T18" fmla="*/ 531 w 534"/>
                <a:gd name="T19" fmla="*/ 201 h 480"/>
                <a:gd name="T20" fmla="*/ 534 w 534"/>
                <a:gd name="T21" fmla="*/ 241 h 480"/>
                <a:gd name="T22" fmla="*/ 531 w 534"/>
                <a:gd name="T23" fmla="*/ 280 h 480"/>
                <a:gd name="T24" fmla="*/ 521 w 534"/>
                <a:gd name="T25" fmla="*/ 316 h 480"/>
                <a:gd name="T26" fmla="*/ 504 w 534"/>
                <a:gd name="T27" fmla="*/ 351 h 480"/>
                <a:gd name="T28" fmla="*/ 483 w 534"/>
                <a:gd name="T29" fmla="*/ 382 h 480"/>
                <a:gd name="T30" fmla="*/ 456 w 534"/>
                <a:gd name="T31" fmla="*/ 411 h 480"/>
                <a:gd name="T32" fmla="*/ 424 w 534"/>
                <a:gd name="T33" fmla="*/ 434 h 480"/>
                <a:gd name="T34" fmla="*/ 390 w 534"/>
                <a:gd name="T35" fmla="*/ 454 h 480"/>
                <a:gd name="T36" fmla="*/ 351 w 534"/>
                <a:gd name="T37" fmla="*/ 468 h 480"/>
                <a:gd name="T38" fmla="*/ 310 w 534"/>
                <a:gd name="T39" fmla="*/ 477 h 480"/>
                <a:gd name="T40" fmla="*/ 266 w 534"/>
                <a:gd name="T41" fmla="*/ 480 h 480"/>
                <a:gd name="T42" fmla="*/ 224 w 534"/>
                <a:gd name="T43" fmla="*/ 477 h 480"/>
                <a:gd name="T44" fmla="*/ 182 w 534"/>
                <a:gd name="T45" fmla="*/ 468 h 480"/>
                <a:gd name="T46" fmla="*/ 144 w 534"/>
                <a:gd name="T47" fmla="*/ 454 h 480"/>
                <a:gd name="T48" fmla="*/ 109 w 534"/>
                <a:gd name="T49" fmla="*/ 434 h 480"/>
                <a:gd name="T50" fmla="*/ 78 w 534"/>
                <a:gd name="T51" fmla="*/ 411 h 480"/>
                <a:gd name="T52" fmla="*/ 51 w 534"/>
                <a:gd name="T53" fmla="*/ 382 h 480"/>
                <a:gd name="T54" fmla="*/ 29 w 534"/>
                <a:gd name="T55" fmla="*/ 351 h 480"/>
                <a:gd name="T56" fmla="*/ 13 w 534"/>
                <a:gd name="T57" fmla="*/ 316 h 480"/>
                <a:gd name="T58" fmla="*/ 3 w 534"/>
                <a:gd name="T59" fmla="*/ 280 h 480"/>
                <a:gd name="T60" fmla="*/ 0 w 534"/>
                <a:gd name="T61" fmla="*/ 241 h 480"/>
                <a:gd name="T62" fmla="*/ 3 w 534"/>
                <a:gd name="T63" fmla="*/ 201 h 480"/>
                <a:gd name="T64" fmla="*/ 13 w 534"/>
                <a:gd name="T65" fmla="*/ 165 h 480"/>
                <a:gd name="T66" fmla="*/ 29 w 534"/>
                <a:gd name="T67" fmla="*/ 130 h 480"/>
                <a:gd name="T68" fmla="*/ 51 w 534"/>
                <a:gd name="T69" fmla="*/ 99 h 480"/>
                <a:gd name="T70" fmla="*/ 78 w 534"/>
                <a:gd name="T71" fmla="*/ 71 h 480"/>
                <a:gd name="T72" fmla="*/ 109 w 534"/>
                <a:gd name="T73" fmla="*/ 47 h 480"/>
                <a:gd name="T74" fmla="*/ 144 w 534"/>
                <a:gd name="T75" fmla="*/ 28 h 480"/>
                <a:gd name="T76" fmla="*/ 182 w 534"/>
                <a:gd name="T77" fmla="*/ 12 h 480"/>
                <a:gd name="T78" fmla="*/ 224 w 534"/>
                <a:gd name="T79" fmla="*/ 3 h 480"/>
                <a:gd name="T80" fmla="*/ 266 w 534"/>
                <a:gd name="T81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34" h="480">
                  <a:moveTo>
                    <a:pt x="266" y="0"/>
                  </a:moveTo>
                  <a:lnTo>
                    <a:pt x="310" y="3"/>
                  </a:lnTo>
                  <a:lnTo>
                    <a:pt x="351" y="12"/>
                  </a:lnTo>
                  <a:lnTo>
                    <a:pt x="390" y="28"/>
                  </a:lnTo>
                  <a:lnTo>
                    <a:pt x="424" y="47"/>
                  </a:lnTo>
                  <a:lnTo>
                    <a:pt x="456" y="71"/>
                  </a:lnTo>
                  <a:lnTo>
                    <a:pt x="483" y="99"/>
                  </a:lnTo>
                  <a:lnTo>
                    <a:pt x="504" y="130"/>
                  </a:lnTo>
                  <a:lnTo>
                    <a:pt x="521" y="165"/>
                  </a:lnTo>
                  <a:lnTo>
                    <a:pt x="531" y="201"/>
                  </a:lnTo>
                  <a:lnTo>
                    <a:pt x="534" y="241"/>
                  </a:lnTo>
                  <a:lnTo>
                    <a:pt x="531" y="280"/>
                  </a:lnTo>
                  <a:lnTo>
                    <a:pt x="521" y="316"/>
                  </a:lnTo>
                  <a:lnTo>
                    <a:pt x="504" y="351"/>
                  </a:lnTo>
                  <a:lnTo>
                    <a:pt x="483" y="382"/>
                  </a:lnTo>
                  <a:lnTo>
                    <a:pt x="456" y="411"/>
                  </a:lnTo>
                  <a:lnTo>
                    <a:pt x="424" y="434"/>
                  </a:lnTo>
                  <a:lnTo>
                    <a:pt x="390" y="454"/>
                  </a:lnTo>
                  <a:lnTo>
                    <a:pt x="351" y="468"/>
                  </a:lnTo>
                  <a:lnTo>
                    <a:pt x="310" y="477"/>
                  </a:lnTo>
                  <a:lnTo>
                    <a:pt x="266" y="480"/>
                  </a:lnTo>
                  <a:lnTo>
                    <a:pt x="224" y="477"/>
                  </a:lnTo>
                  <a:lnTo>
                    <a:pt x="182" y="468"/>
                  </a:lnTo>
                  <a:lnTo>
                    <a:pt x="144" y="454"/>
                  </a:lnTo>
                  <a:lnTo>
                    <a:pt x="109" y="434"/>
                  </a:lnTo>
                  <a:lnTo>
                    <a:pt x="78" y="411"/>
                  </a:lnTo>
                  <a:lnTo>
                    <a:pt x="51" y="382"/>
                  </a:lnTo>
                  <a:lnTo>
                    <a:pt x="29" y="351"/>
                  </a:lnTo>
                  <a:lnTo>
                    <a:pt x="13" y="316"/>
                  </a:lnTo>
                  <a:lnTo>
                    <a:pt x="3" y="280"/>
                  </a:lnTo>
                  <a:lnTo>
                    <a:pt x="0" y="241"/>
                  </a:lnTo>
                  <a:lnTo>
                    <a:pt x="3" y="201"/>
                  </a:lnTo>
                  <a:lnTo>
                    <a:pt x="13" y="165"/>
                  </a:lnTo>
                  <a:lnTo>
                    <a:pt x="29" y="130"/>
                  </a:lnTo>
                  <a:lnTo>
                    <a:pt x="51" y="99"/>
                  </a:lnTo>
                  <a:lnTo>
                    <a:pt x="78" y="71"/>
                  </a:lnTo>
                  <a:lnTo>
                    <a:pt x="109" y="47"/>
                  </a:lnTo>
                  <a:lnTo>
                    <a:pt x="144" y="28"/>
                  </a:lnTo>
                  <a:lnTo>
                    <a:pt x="182" y="12"/>
                  </a:lnTo>
                  <a:lnTo>
                    <a:pt x="224" y="3"/>
                  </a:lnTo>
                  <a:lnTo>
                    <a:pt x="2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6" name="Freeform 102">
            <a:extLst>
              <a:ext uri="{FF2B5EF4-FFF2-40B4-BE49-F238E27FC236}">
                <a16:creationId xmlns:a16="http://schemas.microsoft.com/office/drawing/2014/main" id="{48D5CF13-E924-FA10-A7C2-CC86ECBD599D}"/>
              </a:ext>
            </a:extLst>
          </p:cNvPr>
          <p:cNvSpPr>
            <a:spLocks noEditPoints="1"/>
          </p:cNvSpPr>
          <p:nvPr/>
        </p:nvSpPr>
        <p:spPr bwMode="auto">
          <a:xfrm>
            <a:off x="7067691" y="4154357"/>
            <a:ext cx="493383" cy="554960"/>
          </a:xfrm>
          <a:custGeom>
            <a:avLst/>
            <a:gdLst>
              <a:gd name="T0" fmla="*/ 2363 w 3010"/>
              <a:gd name="T1" fmla="*/ 2515 h 3384"/>
              <a:gd name="T2" fmla="*/ 2175 w 3010"/>
              <a:gd name="T3" fmla="*/ 2631 h 3384"/>
              <a:gd name="T4" fmla="*/ 2182 w 3010"/>
              <a:gd name="T5" fmla="*/ 2426 h 3384"/>
              <a:gd name="T6" fmla="*/ 234 w 3010"/>
              <a:gd name="T7" fmla="*/ 2589 h 3384"/>
              <a:gd name="T8" fmla="*/ 25 w 3010"/>
              <a:gd name="T9" fmla="*/ 2544 h 3384"/>
              <a:gd name="T10" fmla="*/ 224 w 3010"/>
              <a:gd name="T11" fmla="*/ 2426 h 3384"/>
              <a:gd name="T12" fmla="*/ 2005 w 3010"/>
              <a:gd name="T13" fmla="*/ 2408 h 3384"/>
              <a:gd name="T14" fmla="*/ 2101 w 3010"/>
              <a:gd name="T15" fmla="*/ 3201 h 3384"/>
              <a:gd name="T16" fmla="*/ 1686 w 3010"/>
              <a:gd name="T17" fmla="*/ 2329 h 3384"/>
              <a:gd name="T18" fmla="*/ 721 w 3010"/>
              <a:gd name="T19" fmla="*/ 2330 h 3384"/>
              <a:gd name="T20" fmla="*/ 306 w 3010"/>
              <a:gd name="T21" fmla="*/ 3201 h 3384"/>
              <a:gd name="T22" fmla="*/ 401 w 3010"/>
              <a:gd name="T23" fmla="*/ 2408 h 3384"/>
              <a:gd name="T24" fmla="*/ 1203 w 3010"/>
              <a:gd name="T25" fmla="*/ 2109 h 3384"/>
              <a:gd name="T26" fmla="*/ 1535 w 3010"/>
              <a:gd name="T27" fmla="*/ 2244 h 3384"/>
              <a:gd name="T28" fmla="*/ 1674 w 3010"/>
              <a:gd name="T29" fmla="*/ 2569 h 3384"/>
              <a:gd name="T30" fmla="*/ 781 w 3010"/>
              <a:gd name="T31" fmla="*/ 2367 h 3384"/>
              <a:gd name="T32" fmla="*/ 1045 w 3010"/>
              <a:gd name="T33" fmla="*/ 2136 h 3384"/>
              <a:gd name="T34" fmla="*/ 2258 w 3010"/>
              <a:gd name="T35" fmla="*/ 2107 h 3384"/>
              <a:gd name="T36" fmla="*/ 2307 w 3010"/>
              <a:gd name="T37" fmla="*/ 2269 h 3384"/>
              <a:gd name="T38" fmla="*/ 2155 w 3010"/>
              <a:gd name="T39" fmla="*/ 2348 h 3384"/>
              <a:gd name="T40" fmla="*/ 2045 w 3010"/>
              <a:gd name="T41" fmla="*/ 2217 h 3384"/>
              <a:gd name="T42" fmla="*/ 2155 w 3010"/>
              <a:gd name="T43" fmla="*/ 2087 h 3384"/>
              <a:gd name="T44" fmla="*/ 337 w 3010"/>
              <a:gd name="T45" fmla="*/ 2143 h 3384"/>
              <a:gd name="T46" fmla="*/ 320 w 3010"/>
              <a:gd name="T47" fmla="*/ 2311 h 3384"/>
              <a:gd name="T48" fmla="*/ 149 w 3010"/>
              <a:gd name="T49" fmla="*/ 2328 h 3384"/>
              <a:gd name="T50" fmla="*/ 100 w 3010"/>
              <a:gd name="T51" fmla="*/ 2166 h 3384"/>
              <a:gd name="T52" fmla="*/ 1776 w 3010"/>
              <a:gd name="T53" fmla="*/ 1842 h 3384"/>
              <a:gd name="T54" fmla="*/ 1967 w 3010"/>
              <a:gd name="T55" fmla="*/ 1971 h 3384"/>
              <a:gd name="T56" fmla="*/ 1907 w 3010"/>
              <a:gd name="T57" fmla="*/ 2191 h 3384"/>
              <a:gd name="T58" fmla="*/ 1675 w 3010"/>
              <a:gd name="T59" fmla="*/ 2211 h 3384"/>
              <a:gd name="T60" fmla="*/ 1577 w 3010"/>
              <a:gd name="T61" fmla="*/ 2005 h 3384"/>
              <a:gd name="T62" fmla="*/ 1741 w 3010"/>
              <a:gd name="T63" fmla="*/ 1845 h 3384"/>
              <a:gd name="T64" fmla="*/ 785 w 3010"/>
              <a:gd name="T65" fmla="*/ 1912 h 3384"/>
              <a:gd name="T66" fmla="*/ 805 w 3010"/>
              <a:gd name="T67" fmla="*/ 2140 h 3384"/>
              <a:gd name="T68" fmla="*/ 593 w 3010"/>
              <a:gd name="T69" fmla="*/ 2235 h 3384"/>
              <a:gd name="T70" fmla="*/ 430 w 3010"/>
              <a:gd name="T71" fmla="*/ 2076 h 3384"/>
              <a:gd name="T72" fmla="*/ 528 w 3010"/>
              <a:gd name="T73" fmla="*/ 1869 h 3384"/>
              <a:gd name="T74" fmla="*/ 1329 w 3010"/>
              <a:gd name="T75" fmla="*/ 1474 h 3384"/>
              <a:gd name="T76" fmla="*/ 1499 w 3010"/>
              <a:gd name="T77" fmla="*/ 1696 h 3384"/>
              <a:gd name="T78" fmla="*/ 1400 w 3010"/>
              <a:gd name="T79" fmla="*/ 1960 h 3384"/>
              <a:gd name="T80" fmla="*/ 1116 w 3010"/>
              <a:gd name="T81" fmla="*/ 2020 h 3384"/>
              <a:gd name="T82" fmla="*/ 916 w 3010"/>
              <a:gd name="T83" fmla="*/ 1823 h 3384"/>
              <a:gd name="T84" fmla="*/ 977 w 3010"/>
              <a:gd name="T85" fmla="*/ 1547 h 3384"/>
              <a:gd name="T86" fmla="*/ 1484 w 3010"/>
              <a:gd name="T87" fmla="*/ 120 h 3384"/>
              <a:gd name="T88" fmla="*/ 1288 w 3010"/>
              <a:gd name="T89" fmla="*/ 236 h 3384"/>
              <a:gd name="T90" fmla="*/ 1288 w 3010"/>
              <a:gd name="T91" fmla="*/ 980 h 3384"/>
              <a:gd name="T92" fmla="*/ 1484 w 3010"/>
              <a:gd name="T93" fmla="*/ 1097 h 3384"/>
              <a:gd name="T94" fmla="*/ 2769 w 3010"/>
              <a:gd name="T95" fmla="*/ 1073 h 3384"/>
              <a:gd name="T96" fmla="*/ 2888 w 3010"/>
              <a:gd name="T97" fmla="*/ 882 h 3384"/>
              <a:gd name="T98" fmla="*/ 2797 w 3010"/>
              <a:gd name="T99" fmla="*/ 161 h 3384"/>
              <a:gd name="T100" fmla="*/ 2668 w 3010"/>
              <a:gd name="T101" fmla="*/ 0 h 3384"/>
              <a:gd name="T102" fmla="*/ 2939 w 3010"/>
              <a:gd name="T103" fmla="*/ 130 h 3384"/>
              <a:gd name="T104" fmla="*/ 3007 w 3010"/>
              <a:gd name="T105" fmla="*/ 928 h 3384"/>
              <a:gd name="T106" fmla="*/ 2840 w 3010"/>
              <a:gd name="T107" fmla="*/ 1170 h 3384"/>
              <a:gd name="T108" fmla="*/ 1604 w 3010"/>
              <a:gd name="T109" fmla="*/ 1216 h 3384"/>
              <a:gd name="T110" fmla="*/ 1242 w 3010"/>
              <a:gd name="T111" fmla="*/ 1118 h 3384"/>
              <a:gd name="T112" fmla="*/ 1143 w 3010"/>
              <a:gd name="T113" fmla="*/ 334 h 3384"/>
              <a:gd name="T114" fmla="*/ 1275 w 3010"/>
              <a:gd name="T115" fmla="*/ 70 h 33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010" h="3384">
                <a:moveTo>
                  <a:pt x="2182" y="2426"/>
                </a:moveTo>
                <a:lnTo>
                  <a:pt x="2218" y="2428"/>
                </a:lnTo>
                <a:lnTo>
                  <a:pt x="2253" y="2438"/>
                </a:lnTo>
                <a:lnTo>
                  <a:pt x="2285" y="2451"/>
                </a:lnTo>
                <a:lnTo>
                  <a:pt x="2315" y="2468"/>
                </a:lnTo>
                <a:lnTo>
                  <a:pt x="2340" y="2490"/>
                </a:lnTo>
                <a:lnTo>
                  <a:pt x="2363" y="2515"/>
                </a:lnTo>
                <a:lnTo>
                  <a:pt x="2381" y="2544"/>
                </a:lnTo>
                <a:lnTo>
                  <a:pt x="2394" y="2576"/>
                </a:lnTo>
                <a:lnTo>
                  <a:pt x="2403" y="2610"/>
                </a:lnTo>
                <a:lnTo>
                  <a:pt x="2406" y="2645"/>
                </a:lnTo>
                <a:lnTo>
                  <a:pt x="2406" y="3047"/>
                </a:lnTo>
                <a:lnTo>
                  <a:pt x="2175" y="3047"/>
                </a:lnTo>
                <a:lnTo>
                  <a:pt x="2175" y="2631"/>
                </a:lnTo>
                <a:lnTo>
                  <a:pt x="2172" y="2589"/>
                </a:lnTo>
                <a:lnTo>
                  <a:pt x="2165" y="2548"/>
                </a:lnTo>
                <a:lnTo>
                  <a:pt x="2153" y="2509"/>
                </a:lnTo>
                <a:lnTo>
                  <a:pt x="2137" y="2471"/>
                </a:lnTo>
                <a:lnTo>
                  <a:pt x="2118" y="2435"/>
                </a:lnTo>
                <a:lnTo>
                  <a:pt x="2150" y="2428"/>
                </a:lnTo>
                <a:lnTo>
                  <a:pt x="2182" y="2426"/>
                </a:lnTo>
                <a:close/>
                <a:moveTo>
                  <a:pt x="224" y="2426"/>
                </a:moveTo>
                <a:lnTo>
                  <a:pt x="257" y="2428"/>
                </a:lnTo>
                <a:lnTo>
                  <a:pt x="287" y="2435"/>
                </a:lnTo>
                <a:lnTo>
                  <a:pt x="269" y="2471"/>
                </a:lnTo>
                <a:lnTo>
                  <a:pt x="253" y="2509"/>
                </a:lnTo>
                <a:lnTo>
                  <a:pt x="241" y="2548"/>
                </a:lnTo>
                <a:lnTo>
                  <a:pt x="234" y="2589"/>
                </a:lnTo>
                <a:lnTo>
                  <a:pt x="232" y="2631"/>
                </a:lnTo>
                <a:lnTo>
                  <a:pt x="232" y="3047"/>
                </a:lnTo>
                <a:lnTo>
                  <a:pt x="0" y="3047"/>
                </a:lnTo>
                <a:lnTo>
                  <a:pt x="0" y="2645"/>
                </a:lnTo>
                <a:lnTo>
                  <a:pt x="3" y="2610"/>
                </a:lnTo>
                <a:lnTo>
                  <a:pt x="11" y="2576"/>
                </a:lnTo>
                <a:lnTo>
                  <a:pt x="25" y="2544"/>
                </a:lnTo>
                <a:lnTo>
                  <a:pt x="44" y="2515"/>
                </a:lnTo>
                <a:lnTo>
                  <a:pt x="66" y="2490"/>
                </a:lnTo>
                <a:lnTo>
                  <a:pt x="92" y="2468"/>
                </a:lnTo>
                <a:lnTo>
                  <a:pt x="122" y="2450"/>
                </a:lnTo>
                <a:lnTo>
                  <a:pt x="154" y="2436"/>
                </a:lnTo>
                <a:lnTo>
                  <a:pt x="189" y="2428"/>
                </a:lnTo>
                <a:lnTo>
                  <a:pt x="224" y="2426"/>
                </a:lnTo>
                <a:close/>
                <a:moveTo>
                  <a:pt x="1776" y="2314"/>
                </a:moveTo>
                <a:lnTo>
                  <a:pt x="1820" y="2318"/>
                </a:lnTo>
                <a:lnTo>
                  <a:pt x="1862" y="2326"/>
                </a:lnTo>
                <a:lnTo>
                  <a:pt x="1902" y="2339"/>
                </a:lnTo>
                <a:lnTo>
                  <a:pt x="1940" y="2358"/>
                </a:lnTo>
                <a:lnTo>
                  <a:pt x="1975" y="2380"/>
                </a:lnTo>
                <a:lnTo>
                  <a:pt x="2005" y="2408"/>
                </a:lnTo>
                <a:lnTo>
                  <a:pt x="2032" y="2438"/>
                </a:lnTo>
                <a:lnTo>
                  <a:pt x="2055" y="2471"/>
                </a:lnTo>
                <a:lnTo>
                  <a:pt x="2074" y="2508"/>
                </a:lnTo>
                <a:lnTo>
                  <a:pt x="2089" y="2547"/>
                </a:lnTo>
                <a:lnTo>
                  <a:pt x="2097" y="2588"/>
                </a:lnTo>
                <a:lnTo>
                  <a:pt x="2101" y="2631"/>
                </a:lnTo>
                <a:lnTo>
                  <a:pt x="2101" y="3201"/>
                </a:lnTo>
                <a:lnTo>
                  <a:pt x="1747" y="3201"/>
                </a:lnTo>
                <a:lnTo>
                  <a:pt x="1747" y="2569"/>
                </a:lnTo>
                <a:lnTo>
                  <a:pt x="1744" y="2517"/>
                </a:lnTo>
                <a:lnTo>
                  <a:pt x="1735" y="2467"/>
                </a:lnTo>
                <a:lnTo>
                  <a:pt x="1723" y="2420"/>
                </a:lnTo>
                <a:lnTo>
                  <a:pt x="1706" y="2373"/>
                </a:lnTo>
                <a:lnTo>
                  <a:pt x="1686" y="2329"/>
                </a:lnTo>
                <a:lnTo>
                  <a:pt x="1714" y="2322"/>
                </a:lnTo>
                <a:lnTo>
                  <a:pt x="1745" y="2317"/>
                </a:lnTo>
                <a:lnTo>
                  <a:pt x="1776" y="2314"/>
                </a:lnTo>
                <a:close/>
                <a:moveTo>
                  <a:pt x="630" y="2314"/>
                </a:moveTo>
                <a:lnTo>
                  <a:pt x="661" y="2317"/>
                </a:lnTo>
                <a:lnTo>
                  <a:pt x="691" y="2322"/>
                </a:lnTo>
                <a:lnTo>
                  <a:pt x="721" y="2330"/>
                </a:lnTo>
                <a:lnTo>
                  <a:pt x="700" y="2374"/>
                </a:lnTo>
                <a:lnTo>
                  <a:pt x="682" y="2420"/>
                </a:lnTo>
                <a:lnTo>
                  <a:pt x="669" y="2468"/>
                </a:lnTo>
                <a:lnTo>
                  <a:pt x="661" y="2517"/>
                </a:lnTo>
                <a:lnTo>
                  <a:pt x="659" y="2569"/>
                </a:lnTo>
                <a:lnTo>
                  <a:pt x="659" y="3201"/>
                </a:lnTo>
                <a:lnTo>
                  <a:pt x="306" y="3201"/>
                </a:lnTo>
                <a:lnTo>
                  <a:pt x="306" y="2631"/>
                </a:lnTo>
                <a:lnTo>
                  <a:pt x="309" y="2588"/>
                </a:lnTo>
                <a:lnTo>
                  <a:pt x="318" y="2547"/>
                </a:lnTo>
                <a:lnTo>
                  <a:pt x="332" y="2508"/>
                </a:lnTo>
                <a:lnTo>
                  <a:pt x="350" y="2471"/>
                </a:lnTo>
                <a:lnTo>
                  <a:pt x="373" y="2438"/>
                </a:lnTo>
                <a:lnTo>
                  <a:pt x="401" y="2408"/>
                </a:lnTo>
                <a:lnTo>
                  <a:pt x="431" y="2380"/>
                </a:lnTo>
                <a:lnTo>
                  <a:pt x="466" y="2358"/>
                </a:lnTo>
                <a:lnTo>
                  <a:pt x="504" y="2339"/>
                </a:lnTo>
                <a:lnTo>
                  <a:pt x="543" y="2326"/>
                </a:lnTo>
                <a:lnTo>
                  <a:pt x="585" y="2318"/>
                </a:lnTo>
                <a:lnTo>
                  <a:pt x="630" y="2314"/>
                </a:lnTo>
                <a:close/>
                <a:moveTo>
                  <a:pt x="1203" y="2109"/>
                </a:moveTo>
                <a:lnTo>
                  <a:pt x="1258" y="2112"/>
                </a:lnTo>
                <a:lnTo>
                  <a:pt x="1310" y="2122"/>
                </a:lnTo>
                <a:lnTo>
                  <a:pt x="1362" y="2136"/>
                </a:lnTo>
                <a:lnTo>
                  <a:pt x="1410" y="2157"/>
                </a:lnTo>
                <a:lnTo>
                  <a:pt x="1455" y="2181"/>
                </a:lnTo>
                <a:lnTo>
                  <a:pt x="1497" y="2211"/>
                </a:lnTo>
                <a:lnTo>
                  <a:pt x="1535" y="2244"/>
                </a:lnTo>
                <a:lnTo>
                  <a:pt x="1570" y="2282"/>
                </a:lnTo>
                <a:lnTo>
                  <a:pt x="1600" y="2323"/>
                </a:lnTo>
                <a:lnTo>
                  <a:pt x="1625" y="2367"/>
                </a:lnTo>
                <a:lnTo>
                  <a:pt x="1646" y="2414"/>
                </a:lnTo>
                <a:lnTo>
                  <a:pt x="1661" y="2463"/>
                </a:lnTo>
                <a:lnTo>
                  <a:pt x="1670" y="2515"/>
                </a:lnTo>
                <a:lnTo>
                  <a:pt x="1674" y="2569"/>
                </a:lnTo>
                <a:lnTo>
                  <a:pt x="1674" y="3384"/>
                </a:lnTo>
                <a:lnTo>
                  <a:pt x="733" y="3384"/>
                </a:lnTo>
                <a:lnTo>
                  <a:pt x="733" y="2569"/>
                </a:lnTo>
                <a:lnTo>
                  <a:pt x="737" y="2515"/>
                </a:lnTo>
                <a:lnTo>
                  <a:pt x="746" y="2463"/>
                </a:lnTo>
                <a:lnTo>
                  <a:pt x="761" y="2414"/>
                </a:lnTo>
                <a:lnTo>
                  <a:pt x="781" y="2367"/>
                </a:lnTo>
                <a:lnTo>
                  <a:pt x="807" y="2323"/>
                </a:lnTo>
                <a:lnTo>
                  <a:pt x="836" y="2282"/>
                </a:lnTo>
                <a:lnTo>
                  <a:pt x="871" y="2244"/>
                </a:lnTo>
                <a:lnTo>
                  <a:pt x="910" y="2211"/>
                </a:lnTo>
                <a:lnTo>
                  <a:pt x="952" y="2181"/>
                </a:lnTo>
                <a:lnTo>
                  <a:pt x="997" y="2157"/>
                </a:lnTo>
                <a:lnTo>
                  <a:pt x="1045" y="2136"/>
                </a:lnTo>
                <a:lnTo>
                  <a:pt x="1095" y="2122"/>
                </a:lnTo>
                <a:lnTo>
                  <a:pt x="1149" y="2112"/>
                </a:lnTo>
                <a:lnTo>
                  <a:pt x="1203" y="2109"/>
                </a:lnTo>
                <a:close/>
                <a:moveTo>
                  <a:pt x="2182" y="2085"/>
                </a:moveTo>
                <a:lnTo>
                  <a:pt x="2210" y="2087"/>
                </a:lnTo>
                <a:lnTo>
                  <a:pt x="2235" y="2095"/>
                </a:lnTo>
                <a:lnTo>
                  <a:pt x="2258" y="2107"/>
                </a:lnTo>
                <a:lnTo>
                  <a:pt x="2278" y="2124"/>
                </a:lnTo>
                <a:lnTo>
                  <a:pt x="2295" y="2143"/>
                </a:lnTo>
                <a:lnTo>
                  <a:pt x="2307" y="2166"/>
                </a:lnTo>
                <a:lnTo>
                  <a:pt x="2315" y="2190"/>
                </a:lnTo>
                <a:lnTo>
                  <a:pt x="2318" y="2217"/>
                </a:lnTo>
                <a:lnTo>
                  <a:pt x="2315" y="2244"/>
                </a:lnTo>
                <a:lnTo>
                  <a:pt x="2307" y="2269"/>
                </a:lnTo>
                <a:lnTo>
                  <a:pt x="2295" y="2292"/>
                </a:lnTo>
                <a:lnTo>
                  <a:pt x="2278" y="2311"/>
                </a:lnTo>
                <a:lnTo>
                  <a:pt x="2258" y="2328"/>
                </a:lnTo>
                <a:lnTo>
                  <a:pt x="2235" y="2340"/>
                </a:lnTo>
                <a:lnTo>
                  <a:pt x="2210" y="2348"/>
                </a:lnTo>
                <a:lnTo>
                  <a:pt x="2182" y="2350"/>
                </a:lnTo>
                <a:lnTo>
                  <a:pt x="2155" y="2348"/>
                </a:lnTo>
                <a:lnTo>
                  <a:pt x="2129" y="2340"/>
                </a:lnTo>
                <a:lnTo>
                  <a:pt x="2106" y="2328"/>
                </a:lnTo>
                <a:lnTo>
                  <a:pt x="2086" y="2311"/>
                </a:lnTo>
                <a:lnTo>
                  <a:pt x="2069" y="2292"/>
                </a:lnTo>
                <a:lnTo>
                  <a:pt x="2056" y="2269"/>
                </a:lnTo>
                <a:lnTo>
                  <a:pt x="2048" y="2244"/>
                </a:lnTo>
                <a:lnTo>
                  <a:pt x="2045" y="2217"/>
                </a:lnTo>
                <a:lnTo>
                  <a:pt x="2048" y="2190"/>
                </a:lnTo>
                <a:lnTo>
                  <a:pt x="2056" y="2166"/>
                </a:lnTo>
                <a:lnTo>
                  <a:pt x="2069" y="2143"/>
                </a:lnTo>
                <a:lnTo>
                  <a:pt x="2086" y="2124"/>
                </a:lnTo>
                <a:lnTo>
                  <a:pt x="2106" y="2107"/>
                </a:lnTo>
                <a:lnTo>
                  <a:pt x="2129" y="2095"/>
                </a:lnTo>
                <a:lnTo>
                  <a:pt x="2155" y="2087"/>
                </a:lnTo>
                <a:lnTo>
                  <a:pt x="2182" y="2085"/>
                </a:lnTo>
                <a:close/>
                <a:moveTo>
                  <a:pt x="224" y="2085"/>
                </a:moveTo>
                <a:lnTo>
                  <a:pt x="252" y="2087"/>
                </a:lnTo>
                <a:lnTo>
                  <a:pt x="277" y="2095"/>
                </a:lnTo>
                <a:lnTo>
                  <a:pt x="300" y="2107"/>
                </a:lnTo>
                <a:lnTo>
                  <a:pt x="320" y="2124"/>
                </a:lnTo>
                <a:lnTo>
                  <a:pt x="337" y="2143"/>
                </a:lnTo>
                <a:lnTo>
                  <a:pt x="349" y="2166"/>
                </a:lnTo>
                <a:lnTo>
                  <a:pt x="358" y="2190"/>
                </a:lnTo>
                <a:lnTo>
                  <a:pt x="360" y="2217"/>
                </a:lnTo>
                <a:lnTo>
                  <a:pt x="358" y="2244"/>
                </a:lnTo>
                <a:lnTo>
                  <a:pt x="349" y="2269"/>
                </a:lnTo>
                <a:lnTo>
                  <a:pt x="337" y="2292"/>
                </a:lnTo>
                <a:lnTo>
                  <a:pt x="320" y="2311"/>
                </a:lnTo>
                <a:lnTo>
                  <a:pt x="300" y="2328"/>
                </a:lnTo>
                <a:lnTo>
                  <a:pt x="277" y="2340"/>
                </a:lnTo>
                <a:lnTo>
                  <a:pt x="252" y="2348"/>
                </a:lnTo>
                <a:lnTo>
                  <a:pt x="224" y="2350"/>
                </a:lnTo>
                <a:lnTo>
                  <a:pt x="197" y="2348"/>
                </a:lnTo>
                <a:lnTo>
                  <a:pt x="172" y="2340"/>
                </a:lnTo>
                <a:lnTo>
                  <a:pt x="149" y="2328"/>
                </a:lnTo>
                <a:lnTo>
                  <a:pt x="128" y="2311"/>
                </a:lnTo>
                <a:lnTo>
                  <a:pt x="112" y="2292"/>
                </a:lnTo>
                <a:lnTo>
                  <a:pt x="100" y="2269"/>
                </a:lnTo>
                <a:lnTo>
                  <a:pt x="91" y="2244"/>
                </a:lnTo>
                <a:lnTo>
                  <a:pt x="88" y="2217"/>
                </a:lnTo>
                <a:lnTo>
                  <a:pt x="91" y="2190"/>
                </a:lnTo>
                <a:lnTo>
                  <a:pt x="100" y="2166"/>
                </a:lnTo>
                <a:lnTo>
                  <a:pt x="112" y="2143"/>
                </a:lnTo>
                <a:lnTo>
                  <a:pt x="128" y="2124"/>
                </a:lnTo>
                <a:lnTo>
                  <a:pt x="149" y="2107"/>
                </a:lnTo>
                <a:lnTo>
                  <a:pt x="172" y="2095"/>
                </a:lnTo>
                <a:lnTo>
                  <a:pt x="197" y="2087"/>
                </a:lnTo>
                <a:lnTo>
                  <a:pt x="224" y="2085"/>
                </a:lnTo>
                <a:close/>
                <a:moveTo>
                  <a:pt x="1776" y="1842"/>
                </a:moveTo>
                <a:lnTo>
                  <a:pt x="1813" y="1845"/>
                </a:lnTo>
                <a:lnTo>
                  <a:pt x="1848" y="1854"/>
                </a:lnTo>
                <a:lnTo>
                  <a:pt x="1879" y="1869"/>
                </a:lnTo>
                <a:lnTo>
                  <a:pt x="1907" y="1889"/>
                </a:lnTo>
                <a:lnTo>
                  <a:pt x="1932" y="1912"/>
                </a:lnTo>
                <a:lnTo>
                  <a:pt x="1952" y="1940"/>
                </a:lnTo>
                <a:lnTo>
                  <a:pt x="1967" y="1971"/>
                </a:lnTo>
                <a:lnTo>
                  <a:pt x="1977" y="2005"/>
                </a:lnTo>
                <a:lnTo>
                  <a:pt x="1980" y="2040"/>
                </a:lnTo>
                <a:lnTo>
                  <a:pt x="1977" y="2076"/>
                </a:lnTo>
                <a:lnTo>
                  <a:pt x="1967" y="2109"/>
                </a:lnTo>
                <a:lnTo>
                  <a:pt x="1952" y="2140"/>
                </a:lnTo>
                <a:lnTo>
                  <a:pt x="1932" y="2168"/>
                </a:lnTo>
                <a:lnTo>
                  <a:pt x="1907" y="2191"/>
                </a:lnTo>
                <a:lnTo>
                  <a:pt x="1879" y="2211"/>
                </a:lnTo>
                <a:lnTo>
                  <a:pt x="1848" y="2226"/>
                </a:lnTo>
                <a:lnTo>
                  <a:pt x="1813" y="2235"/>
                </a:lnTo>
                <a:lnTo>
                  <a:pt x="1776" y="2239"/>
                </a:lnTo>
                <a:lnTo>
                  <a:pt x="1741" y="2235"/>
                </a:lnTo>
                <a:lnTo>
                  <a:pt x="1706" y="2226"/>
                </a:lnTo>
                <a:lnTo>
                  <a:pt x="1675" y="2211"/>
                </a:lnTo>
                <a:lnTo>
                  <a:pt x="1646" y="2191"/>
                </a:lnTo>
                <a:lnTo>
                  <a:pt x="1622" y="2168"/>
                </a:lnTo>
                <a:lnTo>
                  <a:pt x="1602" y="2140"/>
                </a:lnTo>
                <a:lnTo>
                  <a:pt x="1586" y="2109"/>
                </a:lnTo>
                <a:lnTo>
                  <a:pt x="1577" y="2076"/>
                </a:lnTo>
                <a:lnTo>
                  <a:pt x="1574" y="2040"/>
                </a:lnTo>
                <a:lnTo>
                  <a:pt x="1577" y="2005"/>
                </a:lnTo>
                <a:lnTo>
                  <a:pt x="1586" y="1971"/>
                </a:lnTo>
                <a:lnTo>
                  <a:pt x="1602" y="1940"/>
                </a:lnTo>
                <a:lnTo>
                  <a:pt x="1622" y="1912"/>
                </a:lnTo>
                <a:lnTo>
                  <a:pt x="1646" y="1889"/>
                </a:lnTo>
                <a:lnTo>
                  <a:pt x="1675" y="1869"/>
                </a:lnTo>
                <a:lnTo>
                  <a:pt x="1706" y="1854"/>
                </a:lnTo>
                <a:lnTo>
                  <a:pt x="1741" y="1845"/>
                </a:lnTo>
                <a:lnTo>
                  <a:pt x="1776" y="1842"/>
                </a:lnTo>
                <a:close/>
                <a:moveTo>
                  <a:pt x="630" y="1842"/>
                </a:moveTo>
                <a:lnTo>
                  <a:pt x="666" y="1845"/>
                </a:lnTo>
                <a:lnTo>
                  <a:pt x="700" y="1854"/>
                </a:lnTo>
                <a:lnTo>
                  <a:pt x="731" y="1869"/>
                </a:lnTo>
                <a:lnTo>
                  <a:pt x="760" y="1889"/>
                </a:lnTo>
                <a:lnTo>
                  <a:pt x="785" y="1912"/>
                </a:lnTo>
                <a:lnTo>
                  <a:pt x="805" y="1940"/>
                </a:lnTo>
                <a:lnTo>
                  <a:pt x="819" y="1971"/>
                </a:lnTo>
                <a:lnTo>
                  <a:pt x="829" y="2005"/>
                </a:lnTo>
                <a:lnTo>
                  <a:pt x="832" y="2040"/>
                </a:lnTo>
                <a:lnTo>
                  <a:pt x="829" y="2076"/>
                </a:lnTo>
                <a:lnTo>
                  <a:pt x="819" y="2109"/>
                </a:lnTo>
                <a:lnTo>
                  <a:pt x="805" y="2140"/>
                </a:lnTo>
                <a:lnTo>
                  <a:pt x="785" y="2168"/>
                </a:lnTo>
                <a:lnTo>
                  <a:pt x="760" y="2191"/>
                </a:lnTo>
                <a:lnTo>
                  <a:pt x="731" y="2211"/>
                </a:lnTo>
                <a:lnTo>
                  <a:pt x="700" y="2226"/>
                </a:lnTo>
                <a:lnTo>
                  <a:pt x="666" y="2235"/>
                </a:lnTo>
                <a:lnTo>
                  <a:pt x="630" y="2239"/>
                </a:lnTo>
                <a:lnTo>
                  <a:pt x="593" y="2235"/>
                </a:lnTo>
                <a:lnTo>
                  <a:pt x="559" y="2226"/>
                </a:lnTo>
                <a:lnTo>
                  <a:pt x="528" y="2211"/>
                </a:lnTo>
                <a:lnTo>
                  <a:pt x="499" y="2191"/>
                </a:lnTo>
                <a:lnTo>
                  <a:pt x="474" y="2168"/>
                </a:lnTo>
                <a:lnTo>
                  <a:pt x="454" y="2140"/>
                </a:lnTo>
                <a:lnTo>
                  <a:pt x="440" y="2109"/>
                </a:lnTo>
                <a:lnTo>
                  <a:pt x="430" y="2076"/>
                </a:lnTo>
                <a:lnTo>
                  <a:pt x="427" y="2040"/>
                </a:lnTo>
                <a:lnTo>
                  <a:pt x="430" y="2005"/>
                </a:lnTo>
                <a:lnTo>
                  <a:pt x="440" y="1971"/>
                </a:lnTo>
                <a:lnTo>
                  <a:pt x="454" y="1940"/>
                </a:lnTo>
                <a:lnTo>
                  <a:pt x="474" y="1912"/>
                </a:lnTo>
                <a:lnTo>
                  <a:pt x="499" y="1889"/>
                </a:lnTo>
                <a:lnTo>
                  <a:pt x="528" y="1869"/>
                </a:lnTo>
                <a:lnTo>
                  <a:pt x="559" y="1854"/>
                </a:lnTo>
                <a:lnTo>
                  <a:pt x="593" y="1845"/>
                </a:lnTo>
                <a:lnTo>
                  <a:pt x="630" y="1842"/>
                </a:lnTo>
                <a:close/>
                <a:moveTo>
                  <a:pt x="1203" y="1446"/>
                </a:moveTo>
                <a:lnTo>
                  <a:pt x="1248" y="1450"/>
                </a:lnTo>
                <a:lnTo>
                  <a:pt x="1289" y="1459"/>
                </a:lnTo>
                <a:lnTo>
                  <a:pt x="1329" y="1474"/>
                </a:lnTo>
                <a:lnTo>
                  <a:pt x="1366" y="1493"/>
                </a:lnTo>
                <a:lnTo>
                  <a:pt x="1400" y="1519"/>
                </a:lnTo>
                <a:lnTo>
                  <a:pt x="1429" y="1547"/>
                </a:lnTo>
                <a:lnTo>
                  <a:pt x="1454" y="1580"/>
                </a:lnTo>
                <a:lnTo>
                  <a:pt x="1475" y="1616"/>
                </a:lnTo>
                <a:lnTo>
                  <a:pt x="1490" y="1655"/>
                </a:lnTo>
                <a:lnTo>
                  <a:pt x="1499" y="1696"/>
                </a:lnTo>
                <a:lnTo>
                  <a:pt x="1502" y="1739"/>
                </a:lnTo>
                <a:lnTo>
                  <a:pt x="1499" y="1782"/>
                </a:lnTo>
                <a:lnTo>
                  <a:pt x="1490" y="1823"/>
                </a:lnTo>
                <a:lnTo>
                  <a:pt x="1475" y="1862"/>
                </a:lnTo>
                <a:lnTo>
                  <a:pt x="1454" y="1898"/>
                </a:lnTo>
                <a:lnTo>
                  <a:pt x="1429" y="1931"/>
                </a:lnTo>
                <a:lnTo>
                  <a:pt x="1400" y="1960"/>
                </a:lnTo>
                <a:lnTo>
                  <a:pt x="1366" y="1985"/>
                </a:lnTo>
                <a:lnTo>
                  <a:pt x="1329" y="2005"/>
                </a:lnTo>
                <a:lnTo>
                  <a:pt x="1289" y="2020"/>
                </a:lnTo>
                <a:lnTo>
                  <a:pt x="1248" y="2029"/>
                </a:lnTo>
                <a:lnTo>
                  <a:pt x="1203" y="2032"/>
                </a:lnTo>
                <a:lnTo>
                  <a:pt x="1158" y="2029"/>
                </a:lnTo>
                <a:lnTo>
                  <a:pt x="1116" y="2020"/>
                </a:lnTo>
                <a:lnTo>
                  <a:pt x="1076" y="2005"/>
                </a:lnTo>
                <a:lnTo>
                  <a:pt x="1040" y="1985"/>
                </a:lnTo>
                <a:lnTo>
                  <a:pt x="1006" y="1960"/>
                </a:lnTo>
                <a:lnTo>
                  <a:pt x="977" y="1931"/>
                </a:lnTo>
                <a:lnTo>
                  <a:pt x="952" y="1898"/>
                </a:lnTo>
                <a:lnTo>
                  <a:pt x="932" y="1862"/>
                </a:lnTo>
                <a:lnTo>
                  <a:pt x="916" y="1823"/>
                </a:lnTo>
                <a:lnTo>
                  <a:pt x="907" y="1782"/>
                </a:lnTo>
                <a:lnTo>
                  <a:pt x="903" y="1739"/>
                </a:lnTo>
                <a:lnTo>
                  <a:pt x="907" y="1696"/>
                </a:lnTo>
                <a:lnTo>
                  <a:pt x="916" y="1655"/>
                </a:lnTo>
                <a:lnTo>
                  <a:pt x="932" y="1616"/>
                </a:lnTo>
                <a:lnTo>
                  <a:pt x="952" y="1580"/>
                </a:lnTo>
                <a:lnTo>
                  <a:pt x="977" y="1547"/>
                </a:lnTo>
                <a:lnTo>
                  <a:pt x="1006" y="1519"/>
                </a:lnTo>
                <a:lnTo>
                  <a:pt x="1040" y="1493"/>
                </a:lnTo>
                <a:lnTo>
                  <a:pt x="1076" y="1474"/>
                </a:lnTo>
                <a:lnTo>
                  <a:pt x="1116" y="1459"/>
                </a:lnTo>
                <a:lnTo>
                  <a:pt x="1158" y="1450"/>
                </a:lnTo>
                <a:lnTo>
                  <a:pt x="1203" y="1446"/>
                </a:lnTo>
                <a:close/>
                <a:moveTo>
                  <a:pt x="1484" y="120"/>
                </a:moveTo>
                <a:lnTo>
                  <a:pt x="1448" y="123"/>
                </a:lnTo>
                <a:lnTo>
                  <a:pt x="1414" y="131"/>
                </a:lnTo>
                <a:lnTo>
                  <a:pt x="1383" y="144"/>
                </a:lnTo>
                <a:lnTo>
                  <a:pt x="1355" y="161"/>
                </a:lnTo>
                <a:lnTo>
                  <a:pt x="1328" y="183"/>
                </a:lnTo>
                <a:lnTo>
                  <a:pt x="1306" y="208"/>
                </a:lnTo>
                <a:lnTo>
                  <a:pt x="1288" y="236"/>
                </a:lnTo>
                <a:lnTo>
                  <a:pt x="1275" y="267"/>
                </a:lnTo>
                <a:lnTo>
                  <a:pt x="1266" y="299"/>
                </a:lnTo>
                <a:lnTo>
                  <a:pt x="1264" y="334"/>
                </a:lnTo>
                <a:lnTo>
                  <a:pt x="1264" y="882"/>
                </a:lnTo>
                <a:lnTo>
                  <a:pt x="1266" y="917"/>
                </a:lnTo>
                <a:lnTo>
                  <a:pt x="1275" y="950"/>
                </a:lnTo>
                <a:lnTo>
                  <a:pt x="1288" y="980"/>
                </a:lnTo>
                <a:lnTo>
                  <a:pt x="1306" y="1009"/>
                </a:lnTo>
                <a:lnTo>
                  <a:pt x="1328" y="1034"/>
                </a:lnTo>
                <a:lnTo>
                  <a:pt x="1355" y="1055"/>
                </a:lnTo>
                <a:lnTo>
                  <a:pt x="1383" y="1073"/>
                </a:lnTo>
                <a:lnTo>
                  <a:pt x="1414" y="1086"/>
                </a:lnTo>
                <a:lnTo>
                  <a:pt x="1448" y="1094"/>
                </a:lnTo>
                <a:lnTo>
                  <a:pt x="1484" y="1097"/>
                </a:lnTo>
                <a:lnTo>
                  <a:pt x="1728" y="1097"/>
                </a:lnTo>
                <a:lnTo>
                  <a:pt x="1728" y="1365"/>
                </a:lnTo>
                <a:lnTo>
                  <a:pt x="2002" y="1097"/>
                </a:lnTo>
                <a:lnTo>
                  <a:pt x="2668" y="1097"/>
                </a:lnTo>
                <a:lnTo>
                  <a:pt x="2704" y="1094"/>
                </a:lnTo>
                <a:lnTo>
                  <a:pt x="2737" y="1086"/>
                </a:lnTo>
                <a:lnTo>
                  <a:pt x="2769" y="1073"/>
                </a:lnTo>
                <a:lnTo>
                  <a:pt x="2797" y="1055"/>
                </a:lnTo>
                <a:lnTo>
                  <a:pt x="2822" y="1034"/>
                </a:lnTo>
                <a:lnTo>
                  <a:pt x="2844" y="1009"/>
                </a:lnTo>
                <a:lnTo>
                  <a:pt x="2862" y="980"/>
                </a:lnTo>
                <a:lnTo>
                  <a:pt x="2876" y="950"/>
                </a:lnTo>
                <a:lnTo>
                  <a:pt x="2884" y="917"/>
                </a:lnTo>
                <a:lnTo>
                  <a:pt x="2888" y="882"/>
                </a:lnTo>
                <a:lnTo>
                  <a:pt x="2888" y="334"/>
                </a:lnTo>
                <a:lnTo>
                  <a:pt x="2884" y="299"/>
                </a:lnTo>
                <a:lnTo>
                  <a:pt x="2876" y="267"/>
                </a:lnTo>
                <a:lnTo>
                  <a:pt x="2862" y="236"/>
                </a:lnTo>
                <a:lnTo>
                  <a:pt x="2844" y="208"/>
                </a:lnTo>
                <a:lnTo>
                  <a:pt x="2822" y="183"/>
                </a:lnTo>
                <a:lnTo>
                  <a:pt x="2797" y="161"/>
                </a:lnTo>
                <a:lnTo>
                  <a:pt x="2769" y="144"/>
                </a:lnTo>
                <a:lnTo>
                  <a:pt x="2737" y="131"/>
                </a:lnTo>
                <a:lnTo>
                  <a:pt x="2704" y="123"/>
                </a:lnTo>
                <a:lnTo>
                  <a:pt x="2668" y="120"/>
                </a:lnTo>
                <a:lnTo>
                  <a:pt x="1484" y="120"/>
                </a:lnTo>
                <a:close/>
                <a:moveTo>
                  <a:pt x="1484" y="0"/>
                </a:moveTo>
                <a:lnTo>
                  <a:pt x="2668" y="0"/>
                </a:lnTo>
                <a:lnTo>
                  <a:pt x="2714" y="3"/>
                </a:lnTo>
                <a:lnTo>
                  <a:pt x="2759" y="12"/>
                </a:lnTo>
                <a:lnTo>
                  <a:pt x="2801" y="27"/>
                </a:lnTo>
                <a:lnTo>
                  <a:pt x="2840" y="46"/>
                </a:lnTo>
                <a:lnTo>
                  <a:pt x="2877" y="70"/>
                </a:lnTo>
                <a:lnTo>
                  <a:pt x="2910" y="97"/>
                </a:lnTo>
                <a:lnTo>
                  <a:pt x="2939" y="130"/>
                </a:lnTo>
                <a:lnTo>
                  <a:pt x="2963" y="165"/>
                </a:lnTo>
                <a:lnTo>
                  <a:pt x="2983" y="204"/>
                </a:lnTo>
                <a:lnTo>
                  <a:pt x="2998" y="245"/>
                </a:lnTo>
                <a:lnTo>
                  <a:pt x="3007" y="288"/>
                </a:lnTo>
                <a:lnTo>
                  <a:pt x="3010" y="334"/>
                </a:lnTo>
                <a:lnTo>
                  <a:pt x="3010" y="882"/>
                </a:lnTo>
                <a:lnTo>
                  <a:pt x="3007" y="928"/>
                </a:lnTo>
                <a:lnTo>
                  <a:pt x="2998" y="971"/>
                </a:lnTo>
                <a:lnTo>
                  <a:pt x="2983" y="1012"/>
                </a:lnTo>
                <a:lnTo>
                  <a:pt x="2963" y="1051"/>
                </a:lnTo>
                <a:lnTo>
                  <a:pt x="2939" y="1086"/>
                </a:lnTo>
                <a:lnTo>
                  <a:pt x="2910" y="1118"/>
                </a:lnTo>
                <a:lnTo>
                  <a:pt x="2877" y="1146"/>
                </a:lnTo>
                <a:lnTo>
                  <a:pt x="2840" y="1170"/>
                </a:lnTo>
                <a:lnTo>
                  <a:pt x="2801" y="1190"/>
                </a:lnTo>
                <a:lnTo>
                  <a:pt x="2759" y="1204"/>
                </a:lnTo>
                <a:lnTo>
                  <a:pt x="2714" y="1213"/>
                </a:lnTo>
                <a:lnTo>
                  <a:pt x="2668" y="1216"/>
                </a:lnTo>
                <a:lnTo>
                  <a:pt x="2053" y="1216"/>
                </a:lnTo>
                <a:lnTo>
                  <a:pt x="1604" y="1654"/>
                </a:lnTo>
                <a:lnTo>
                  <a:pt x="1604" y="1216"/>
                </a:lnTo>
                <a:lnTo>
                  <a:pt x="1484" y="1216"/>
                </a:lnTo>
                <a:lnTo>
                  <a:pt x="1437" y="1213"/>
                </a:lnTo>
                <a:lnTo>
                  <a:pt x="1393" y="1204"/>
                </a:lnTo>
                <a:lnTo>
                  <a:pt x="1351" y="1190"/>
                </a:lnTo>
                <a:lnTo>
                  <a:pt x="1312" y="1170"/>
                </a:lnTo>
                <a:lnTo>
                  <a:pt x="1275" y="1146"/>
                </a:lnTo>
                <a:lnTo>
                  <a:pt x="1242" y="1118"/>
                </a:lnTo>
                <a:lnTo>
                  <a:pt x="1214" y="1086"/>
                </a:lnTo>
                <a:lnTo>
                  <a:pt x="1189" y="1051"/>
                </a:lnTo>
                <a:lnTo>
                  <a:pt x="1169" y="1012"/>
                </a:lnTo>
                <a:lnTo>
                  <a:pt x="1154" y="971"/>
                </a:lnTo>
                <a:lnTo>
                  <a:pt x="1146" y="928"/>
                </a:lnTo>
                <a:lnTo>
                  <a:pt x="1143" y="882"/>
                </a:lnTo>
                <a:lnTo>
                  <a:pt x="1143" y="334"/>
                </a:lnTo>
                <a:lnTo>
                  <a:pt x="1145" y="288"/>
                </a:lnTo>
                <a:lnTo>
                  <a:pt x="1154" y="245"/>
                </a:lnTo>
                <a:lnTo>
                  <a:pt x="1169" y="204"/>
                </a:lnTo>
                <a:lnTo>
                  <a:pt x="1189" y="165"/>
                </a:lnTo>
                <a:lnTo>
                  <a:pt x="1213" y="130"/>
                </a:lnTo>
                <a:lnTo>
                  <a:pt x="1242" y="97"/>
                </a:lnTo>
                <a:lnTo>
                  <a:pt x="1275" y="70"/>
                </a:lnTo>
                <a:lnTo>
                  <a:pt x="1312" y="46"/>
                </a:lnTo>
                <a:lnTo>
                  <a:pt x="1350" y="27"/>
                </a:lnTo>
                <a:lnTo>
                  <a:pt x="1393" y="12"/>
                </a:lnTo>
                <a:lnTo>
                  <a:pt x="1437" y="3"/>
                </a:lnTo>
                <a:lnTo>
                  <a:pt x="1484" y="0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22F3E072-5545-45AE-96F3-3D8DE1CBFFB0}"/>
              </a:ext>
            </a:extLst>
          </p:cNvPr>
          <p:cNvGrpSpPr/>
          <p:nvPr/>
        </p:nvGrpSpPr>
        <p:grpSpPr>
          <a:xfrm>
            <a:off x="7459569" y="3618641"/>
            <a:ext cx="412510" cy="414876"/>
            <a:chOff x="-2292350" y="3246438"/>
            <a:chExt cx="2082800" cy="2092325"/>
          </a:xfrm>
          <a:solidFill>
            <a:schemeClr val="tx1"/>
          </a:solidFill>
        </p:grpSpPr>
        <p:sp>
          <p:nvSpPr>
            <p:cNvPr id="28" name="Freeform 125">
              <a:extLst>
                <a:ext uri="{FF2B5EF4-FFF2-40B4-BE49-F238E27FC236}">
                  <a16:creationId xmlns:a16="http://schemas.microsoft.com/office/drawing/2014/main" id="{0BC6ACCE-4DC5-313E-B7B3-7EF1E579F542}"/>
                </a:ext>
              </a:extLst>
            </p:cNvPr>
            <p:cNvSpPr>
              <a:spLocks/>
            </p:cNvSpPr>
            <p:nvPr/>
          </p:nvSpPr>
          <p:spPr bwMode="auto">
            <a:xfrm>
              <a:off x="-2292350" y="3457575"/>
              <a:ext cx="1881188" cy="1881188"/>
            </a:xfrm>
            <a:custGeom>
              <a:avLst/>
              <a:gdLst>
                <a:gd name="T0" fmla="*/ 1994 w 3554"/>
                <a:gd name="T1" fmla="*/ 14 h 3556"/>
                <a:gd name="T2" fmla="*/ 2305 w 3554"/>
                <a:gd name="T3" fmla="*/ 81 h 3556"/>
                <a:gd name="T4" fmla="*/ 2594 w 3554"/>
                <a:gd name="T5" fmla="*/ 198 h 3556"/>
                <a:gd name="T6" fmla="*/ 2613 w 3554"/>
                <a:gd name="T7" fmla="*/ 520 h 3556"/>
                <a:gd name="T8" fmla="*/ 2309 w 3554"/>
                <a:gd name="T9" fmla="*/ 584 h 3556"/>
                <a:gd name="T10" fmla="*/ 2053 w 3554"/>
                <a:gd name="T11" fmla="*/ 501 h 3556"/>
                <a:gd name="T12" fmla="*/ 1777 w 3554"/>
                <a:gd name="T13" fmla="*/ 471 h 3556"/>
                <a:gd name="T14" fmla="*/ 1491 w 3554"/>
                <a:gd name="T15" fmla="*/ 502 h 3556"/>
                <a:gd name="T16" fmla="*/ 1226 w 3554"/>
                <a:gd name="T17" fmla="*/ 592 h 3556"/>
                <a:gd name="T18" fmla="*/ 991 w 3554"/>
                <a:gd name="T19" fmla="*/ 734 h 3556"/>
                <a:gd name="T20" fmla="*/ 791 w 3554"/>
                <a:gd name="T21" fmla="*/ 920 h 3556"/>
                <a:gd name="T22" fmla="*/ 634 w 3554"/>
                <a:gd name="T23" fmla="*/ 1145 h 3556"/>
                <a:gd name="T24" fmla="*/ 526 w 3554"/>
                <a:gd name="T25" fmla="*/ 1401 h 3556"/>
                <a:gd name="T26" fmla="*/ 474 w 3554"/>
                <a:gd name="T27" fmla="*/ 1680 h 3556"/>
                <a:gd name="T28" fmla="*/ 485 w 3554"/>
                <a:gd name="T29" fmla="*/ 1971 h 3556"/>
                <a:gd name="T30" fmla="*/ 556 w 3554"/>
                <a:gd name="T31" fmla="*/ 2244 h 3556"/>
                <a:gd name="T32" fmla="*/ 681 w 3554"/>
                <a:gd name="T33" fmla="*/ 2490 h 3556"/>
                <a:gd name="T34" fmla="*/ 854 w 3554"/>
                <a:gd name="T35" fmla="*/ 2702 h 3556"/>
                <a:gd name="T36" fmla="*/ 1066 w 3554"/>
                <a:gd name="T37" fmla="*/ 2874 h 3556"/>
                <a:gd name="T38" fmla="*/ 1312 w 3554"/>
                <a:gd name="T39" fmla="*/ 2999 h 3556"/>
                <a:gd name="T40" fmla="*/ 1585 w 3554"/>
                <a:gd name="T41" fmla="*/ 3071 h 3556"/>
                <a:gd name="T42" fmla="*/ 1876 w 3554"/>
                <a:gd name="T43" fmla="*/ 3082 h 3556"/>
                <a:gd name="T44" fmla="*/ 2155 w 3554"/>
                <a:gd name="T45" fmla="*/ 3029 h 3556"/>
                <a:gd name="T46" fmla="*/ 2411 w 3554"/>
                <a:gd name="T47" fmla="*/ 2922 h 3556"/>
                <a:gd name="T48" fmla="*/ 2634 w 3554"/>
                <a:gd name="T49" fmla="*/ 2765 h 3556"/>
                <a:gd name="T50" fmla="*/ 2822 w 3554"/>
                <a:gd name="T51" fmla="*/ 2564 h 3556"/>
                <a:gd name="T52" fmla="*/ 2962 w 3554"/>
                <a:gd name="T53" fmla="*/ 2329 h 3556"/>
                <a:gd name="T54" fmla="*/ 3052 w 3554"/>
                <a:gd name="T55" fmla="*/ 2065 h 3556"/>
                <a:gd name="T56" fmla="*/ 3085 w 3554"/>
                <a:gd name="T57" fmla="*/ 1778 h 3556"/>
                <a:gd name="T58" fmla="*/ 3055 w 3554"/>
                <a:gd name="T59" fmla="*/ 1503 h 3556"/>
                <a:gd name="T60" fmla="*/ 2972 w 3554"/>
                <a:gd name="T61" fmla="*/ 1247 h 3556"/>
                <a:gd name="T62" fmla="*/ 3051 w 3554"/>
                <a:gd name="T63" fmla="*/ 927 h 3556"/>
                <a:gd name="T64" fmla="*/ 3325 w 3554"/>
                <a:gd name="T65" fmla="*/ 945 h 3556"/>
                <a:gd name="T66" fmla="*/ 3435 w 3554"/>
                <a:gd name="T67" fmla="*/ 1136 h 3556"/>
                <a:gd name="T68" fmla="*/ 3524 w 3554"/>
                <a:gd name="T69" fmla="*/ 1446 h 3556"/>
                <a:gd name="T70" fmla="*/ 3554 w 3554"/>
                <a:gd name="T71" fmla="*/ 1778 h 3556"/>
                <a:gd name="T72" fmla="*/ 3522 w 3554"/>
                <a:gd name="T73" fmla="*/ 2122 h 3556"/>
                <a:gd name="T74" fmla="*/ 3426 w 3554"/>
                <a:gd name="T75" fmla="*/ 2444 h 3556"/>
                <a:gd name="T76" fmla="*/ 3273 w 3554"/>
                <a:gd name="T77" fmla="*/ 2737 h 3556"/>
                <a:gd name="T78" fmla="*/ 3073 w 3554"/>
                <a:gd name="T79" fmla="*/ 2995 h 3556"/>
                <a:gd name="T80" fmla="*/ 2827 w 3554"/>
                <a:gd name="T81" fmla="*/ 3213 h 3556"/>
                <a:gd name="T82" fmla="*/ 2544 w 3554"/>
                <a:gd name="T83" fmla="*/ 3382 h 3556"/>
                <a:gd name="T84" fmla="*/ 2232 w 3554"/>
                <a:gd name="T85" fmla="*/ 3497 h 3556"/>
                <a:gd name="T86" fmla="*/ 1894 w 3554"/>
                <a:gd name="T87" fmla="*/ 3553 h 3556"/>
                <a:gd name="T88" fmla="*/ 1545 w 3554"/>
                <a:gd name="T89" fmla="*/ 3541 h 3556"/>
                <a:gd name="T90" fmla="*/ 1215 w 3554"/>
                <a:gd name="T91" fmla="*/ 3465 h 3556"/>
                <a:gd name="T92" fmla="*/ 911 w 3554"/>
                <a:gd name="T93" fmla="*/ 3332 h 3556"/>
                <a:gd name="T94" fmla="*/ 641 w 3554"/>
                <a:gd name="T95" fmla="*/ 3145 h 3556"/>
                <a:gd name="T96" fmla="*/ 409 w 3554"/>
                <a:gd name="T97" fmla="*/ 2914 h 3556"/>
                <a:gd name="T98" fmla="*/ 225 w 3554"/>
                <a:gd name="T99" fmla="*/ 2644 h 3556"/>
                <a:gd name="T100" fmla="*/ 90 w 3554"/>
                <a:gd name="T101" fmla="*/ 2340 h 3556"/>
                <a:gd name="T102" fmla="*/ 14 w 3554"/>
                <a:gd name="T103" fmla="*/ 2009 h 3556"/>
                <a:gd name="T104" fmla="*/ 0 w 3554"/>
                <a:gd name="T105" fmla="*/ 1778 h 3556"/>
                <a:gd name="T106" fmla="*/ 34 w 3554"/>
                <a:gd name="T107" fmla="*/ 1434 h 3556"/>
                <a:gd name="T108" fmla="*/ 128 w 3554"/>
                <a:gd name="T109" fmla="*/ 1111 h 3556"/>
                <a:gd name="T110" fmla="*/ 281 w 3554"/>
                <a:gd name="T111" fmla="*/ 818 h 3556"/>
                <a:gd name="T112" fmla="*/ 483 w 3554"/>
                <a:gd name="T113" fmla="*/ 560 h 3556"/>
                <a:gd name="T114" fmla="*/ 728 w 3554"/>
                <a:gd name="T115" fmla="*/ 344 h 3556"/>
                <a:gd name="T116" fmla="*/ 1010 w 3554"/>
                <a:gd name="T117" fmla="*/ 174 h 3556"/>
                <a:gd name="T118" fmla="*/ 1322 w 3554"/>
                <a:gd name="T119" fmla="*/ 59 h 3556"/>
                <a:gd name="T120" fmla="*/ 1659 w 3554"/>
                <a:gd name="T121" fmla="*/ 4 h 3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554" h="3556">
                  <a:moveTo>
                    <a:pt x="1777" y="0"/>
                  </a:moveTo>
                  <a:lnTo>
                    <a:pt x="1886" y="4"/>
                  </a:lnTo>
                  <a:lnTo>
                    <a:pt x="1994" y="14"/>
                  </a:lnTo>
                  <a:lnTo>
                    <a:pt x="2100" y="29"/>
                  </a:lnTo>
                  <a:lnTo>
                    <a:pt x="2203" y="52"/>
                  </a:lnTo>
                  <a:lnTo>
                    <a:pt x="2305" y="81"/>
                  </a:lnTo>
                  <a:lnTo>
                    <a:pt x="2404" y="114"/>
                  </a:lnTo>
                  <a:lnTo>
                    <a:pt x="2500" y="154"/>
                  </a:lnTo>
                  <a:lnTo>
                    <a:pt x="2594" y="198"/>
                  </a:lnTo>
                  <a:lnTo>
                    <a:pt x="2591" y="230"/>
                  </a:lnTo>
                  <a:lnTo>
                    <a:pt x="2592" y="261"/>
                  </a:lnTo>
                  <a:lnTo>
                    <a:pt x="2613" y="520"/>
                  </a:lnTo>
                  <a:lnTo>
                    <a:pt x="2465" y="667"/>
                  </a:lnTo>
                  <a:lnTo>
                    <a:pt x="2388" y="624"/>
                  </a:lnTo>
                  <a:lnTo>
                    <a:pt x="2309" y="584"/>
                  </a:lnTo>
                  <a:lnTo>
                    <a:pt x="2226" y="550"/>
                  </a:lnTo>
                  <a:lnTo>
                    <a:pt x="2141" y="523"/>
                  </a:lnTo>
                  <a:lnTo>
                    <a:pt x="2053" y="501"/>
                  </a:lnTo>
                  <a:lnTo>
                    <a:pt x="1963" y="484"/>
                  </a:lnTo>
                  <a:lnTo>
                    <a:pt x="1871" y="475"/>
                  </a:lnTo>
                  <a:lnTo>
                    <a:pt x="1777" y="471"/>
                  </a:lnTo>
                  <a:lnTo>
                    <a:pt x="1680" y="475"/>
                  </a:lnTo>
                  <a:lnTo>
                    <a:pt x="1584" y="485"/>
                  </a:lnTo>
                  <a:lnTo>
                    <a:pt x="1491" y="502"/>
                  </a:lnTo>
                  <a:lnTo>
                    <a:pt x="1400" y="526"/>
                  </a:lnTo>
                  <a:lnTo>
                    <a:pt x="1311" y="556"/>
                  </a:lnTo>
                  <a:lnTo>
                    <a:pt x="1226" y="592"/>
                  </a:lnTo>
                  <a:lnTo>
                    <a:pt x="1144" y="634"/>
                  </a:lnTo>
                  <a:lnTo>
                    <a:pt x="1066" y="682"/>
                  </a:lnTo>
                  <a:lnTo>
                    <a:pt x="991" y="734"/>
                  </a:lnTo>
                  <a:lnTo>
                    <a:pt x="920" y="792"/>
                  </a:lnTo>
                  <a:lnTo>
                    <a:pt x="854" y="854"/>
                  </a:lnTo>
                  <a:lnTo>
                    <a:pt x="791" y="920"/>
                  </a:lnTo>
                  <a:lnTo>
                    <a:pt x="734" y="992"/>
                  </a:lnTo>
                  <a:lnTo>
                    <a:pt x="681" y="1067"/>
                  </a:lnTo>
                  <a:lnTo>
                    <a:pt x="634" y="1145"/>
                  </a:lnTo>
                  <a:lnTo>
                    <a:pt x="592" y="1228"/>
                  </a:lnTo>
                  <a:lnTo>
                    <a:pt x="556" y="1313"/>
                  </a:lnTo>
                  <a:lnTo>
                    <a:pt x="526" y="1401"/>
                  </a:lnTo>
                  <a:lnTo>
                    <a:pt x="502" y="1492"/>
                  </a:lnTo>
                  <a:lnTo>
                    <a:pt x="485" y="1586"/>
                  </a:lnTo>
                  <a:lnTo>
                    <a:pt x="474" y="1680"/>
                  </a:lnTo>
                  <a:lnTo>
                    <a:pt x="471" y="1778"/>
                  </a:lnTo>
                  <a:lnTo>
                    <a:pt x="474" y="1876"/>
                  </a:lnTo>
                  <a:lnTo>
                    <a:pt x="485" y="1971"/>
                  </a:lnTo>
                  <a:lnTo>
                    <a:pt x="502" y="2065"/>
                  </a:lnTo>
                  <a:lnTo>
                    <a:pt x="526" y="2156"/>
                  </a:lnTo>
                  <a:lnTo>
                    <a:pt x="556" y="2244"/>
                  </a:lnTo>
                  <a:lnTo>
                    <a:pt x="592" y="2329"/>
                  </a:lnTo>
                  <a:lnTo>
                    <a:pt x="634" y="2411"/>
                  </a:lnTo>
                  <a:lnTo>
                    <a:pt x="681" y="2490"/>
                  </a:lnTo>
                  <a:lnTo>
                    <a:pt x="734" y="2564"/>
                  </a:lnTo>
                  <a:lnTo>
                    <a:pt x="791" y="2635"/>
                  </a:lnTo>
                  <a:lnTo>
                    <a:pt x="854" y="2702"/>
                  </a:lnTo>
                  <a:lnTo>
                    <a:pt x="920" y="2765"/>
                  </a:lnTo>
                  <a:lnTo>
                    <a:pt x="992" y="2821"/>
                  </a:lnTo>
                  <a:lnTo>
                    <a:pt x="1066" y="2874"/>
                  </a:lnTo>
                  <a:lnTo>
                    <a:pt x="1144" y="2922"/>
                  </a:lnTo>
                  <a:lnTo>
                    <a:pt x="1227" y="2963"/>
                  </a:lnTo>
                  <a:lnTo>
                    <a:pt x="1312" y="2999"/>
                  </a:lnTo>
                  <a:lnTo>
                    <a:pt x="1400" y="3029"/>
                  </a:lnTo>
                  <a:lnTo>
                    <a:pt x="1491" y="3053"/>
                  </a:lnTo>
                  <a:lnTo>
                    <a:pt x="1585" y="3071"/>
                  </a:lnTo>
                  <a:lnTo>
                    <a:pt x="1680" y="3082"/>
                  </a:lnTo>
                  <a:lnTo>
                    <a:pt x="1777" y="3084"/>
                  </a:lnTo>
                  <a:lnTo>
                    <a:pt x="1876" y="3082"/>
                  </a:lnTo>
                  <a:lnTo>
                    <a:pt x="1970" y="3071"/>
                  </a:lnTo>
                  <a:lnTo>
                    <a:pt x="2064" y="3053"/>
                  </a:lnTo>
                  <a:lnTo>
                    <a:pt x="2155" y="3029"/>
                  </a:lnTo>
                  <a:lnTo>
                    <a:pt x="2243" y="2999"/>
                  </a:lnTo>
                  <a:lnTo>
                    <a:pt x="2328" y="2963"/>
                  </a:lnTo>
                  <a:lnTo>
                    <a:pt x="2411" y="2922"/>
                  </a:lnTo>
                  <a:lnTo>
                    <a:pt x="2489" y="2874"/>
                  </a:lnTo>
                  <a:lnTo>
                    <a:pt x="2564" y="2821"/>
                  </a:lnTo>
                  <a:lnTo>
                    <a:pt x="2634" y="2765"/>
                  </a:lnTo>
                  <a:lnTo>
                    <a:pt x="2702" y="2702"/>
                  </a:lnTo>
                  <a:lnTo>
                    <a:pt x="2764" y="2635"/>
                  </a:lnTo>
                  <a:lnTo>
                    <a:pt x="2822" y="2564"/>
                  </a:lnTo>
                  <a:lnTo>
                    <a:pt x="2873" y="2490"/>
                  </a:lnTo>
                  <a:lnTo>
                    <a:pt x="2921" y="2411"/>
                  </a:lnTo>
                  <a:lnTo>
                    <a:pt x="2962" y="2329"/>
                  </a:lnTo>
                  <a:lnTo>
                    <a:pt x="2998" y="2244"/>
                  </a:lnTo>
                  <a:lnTo>
                    <a:pt x="3029" y="2156"/>
                  </a:lnTo>
                  <a:lnTo>
                    <a:pt x="3052" y="2065"/>
                  </a:lnTo>
                  <a:lnTo>
                    <a:pt x="3070" y="1971"/>
                  </a:lnTo>
                  <a:lnTo>
                    <a:pt x="3081" y="1876"/>
                  </a:lnTo>
                  <a:lnTo>
                    <a:pt x="3085" y="1778"/>
                  </a:lnTo>
                  <a:lnTo>
                    <a:pt x="3081" y="1684"/>
                  </a:lnTo>
                  <a:lnTo>
                    <a:pt x="3071" y="1593"/>
                  </a:lnTo>
                  <a:lnTo>
                    <a:pt x="3055" y="1503"/>
                  </a:lnTo>
                  <a:lnTo>
                    <a:pt x="3033" y="1415"/>
                  </a:lnTo>
                  <a:lnTo>
                    <a:pt x="3005" y="1329"/>
                  </a:lnTo>
                  <a:lnTo>
                    <a:pt x="2972" y="1247"/>
                  </a:lnTo>
                  <a:lnTo>
                    <a:pt x="2932" y="1166"/>
                  </a:lnTo>
                  <a:lnTo>
                    <a:pt x="2889" y="1090"/>
                  </a:lnTo>
                  <a:lnTo>
                    <a:pt x="3051" y="927"/>
                  </a:lnTo>
                  <a:lnTo>
                    <a:pt x="3277" y="944"/>
                  </a:lnTo>
                  <a:lnTo>
                    <a:pt x="3303" y="945"/>
                  </a:lnTo>
                  <a:lnTo>
                    <a:pt x="3325" y="945"/>
                  </a:lnTo>
                  <a:lnTo>
                    <a:pt x="3346" y="943"/>
                  </a:lnTo>
                  <a:lnTo>
                    <a:pt x="3394" y="1038"/>
                  </a:lnTo>
                  <a:lnTo>
                    <a:pt x="3435" y="1136"/>
                  </a:lnTo>
                  <a:lnTo>
                    <a:pt x="3471" y="1237"/>
                  </a:lnTo>
                  <a:lnTo>
                    <a:pt x="3500" y="1341"/>
                  </a:lnTo>
                  <a:lnTo>
                    <a:pt x="3524" y="1446"/>
                  </a:lnTo>
                  <a:lnTo>
                    <a:pt x="3541" y="1555"/>
                  </a:lnTo>
                  <a:lnTo>
                    <a:pt x="3552" y="1666"/>
                  </a:lnTo>
                  <a:lnTo>
                    <a:pt x="3554" y="1778"/>
                  </a:lnTo>
                  <a:lnTo>
                    <a:pt x="3551" y="1895"/>
                  </a:lnTo>
                  <a:lnTo>
                    <a:pt x="3540" y="2009"/>
                  </a:lnTo>
                  <a:lnTo>
                    <a:pt x="3522" y="2122"/>
                  </a:lnTo>
                  <a:lnTo>
                    <a:pt x="3497" y="2233"/>
                  </a:lnTo>
                  <a:lnTo>
                    <a:pt x="3464" y="2340"/>
                  </a:lnTo>
                  <a:lnTo>
                    <a:pt x="3426" y="2444"/>
                  </a:lnTo>
                  <a:lnTo>
                    <a:pt x="3381" y="2546"/>
                  </a:lnTo>
                  <a:lnTo>
                    <a:pt x="3331" y="2644"/>
                  </a:lnTo>
                  <a:lnTo>
                    <a:pt x="3273" y="2737"/>
                  </a:lnTo>
                  <a:lnTo>
                    <a:pt x="3212" y="2828"/>
                  </a:lnTo>
                  <a:lnTo>
                    <a:pt x="3145" y="2914"/>
                  </a:lnTo>
                  <a:lnTo>
                    <a:pt x="3073" y="2995"/>
                  </a:lnTo>
                  <a:lnTo>
                    <a:pt x="2995" y="3073"/>
                  </a:lnTo>
                  <a:lnTo>
                    <a:pt x="2913" y="3145"/>
                  </a:lnTo>
                  <a:lnTo>
                    <a:pt x="2827" y="3213"/>
                  </a:lnTo>
                  <a:lnTo>
                    <a:pt x="2736" y="3275"/>
                  </a:lnTo>
                  <a:lnTo>
                    <a:pt x="2643" y="3332"/>
                  </a:lnTo>
                  <a:lnTo>
                    <a:pt x="2544" y="3382"/>
                  </a:lnTo>
                  <a:lnTo>
                    <a:pt x="2443" y="3426"/>
                  </a:lnTo>
                  <a:lnTo>
                    <a:pt x="2339" y="3465"/>
                  </a:lnTo>
                  <a:lnTo>
                    <a:pt x="2232" y="3497"/>
                  </a:lnTo>
                  <a:lnTo>
                    <a:pt x="2122" y="3523"/>
                  </a:lnTo>
                  <a:lnTo>
                    <a:pt x="2009" y="3541"/>
                  </a:lnTo>
                  <a:lnTo>
                    <a:pt x="1894" y="3553"/>
                  </a:lnTo>
                  <a:lnTo>
                    <a:pt x="1777" y="3556"/>
                  </a:lnTo>
                  <a:lnTo>
                    <a:pt x="1661" y="3553"/>
                  </a:lnTo>
                  <a:lnTo>
                    <a:pt x="1545" y="3541"/>
                  </a:lnTo>
                  <a:lnTo>
                    <a:pt x="1432" y="3523"/>
                  </a:lnTo>
                  <a:lnTo>
                    <a:pt x="1323" y="3497"/>
                  </a:lnTo>
                  <a:lnTo>
                    <a:pt x="1215" y="3465"/>
                  </a:lnTo>
                  <a:lnTo>
                    <a:pt x="1111" y="3426"/>
                  </a:lnTo>
                  <a:lnTo>
                    <a:pt x="1010" y="3382"/>
                  </a:lnTo>
                  <a:lnTo>
                    <a:pt x="911" y="3332"/>
                  </a:lnTo>
                  <a:lnTo>
                    <a:pt x="818" y="3275"/>
                  </a:lnTo>
                  <a:lnTo>
                    <a:pt x="728" y="3213"/>
                  </a:lnTo>
                  <a:lnTo>
                    <a:pt x="641" y="3145"/>
                  </a:lnTo>
                  <a:lnTo>
                    <a:pt x="560" y="3073"/>
                  </a:lnTo>
                  <a:lnTo>
                    <a:pt x="483" y="2995"/>
                  </a:lnTo>
                  <a:lnTo>
                    <a:pt x="409" y="2914"/>
                  </a:lnTo>
                  <a:lnTo>
                    <a:pt x="342" y="2828"/>
                  </a:lnTo>
                  <a:lnTo>
                    <a:pt x="281" y="2737"/>
                  </a:lnTo>
                  <a:lnTo>
                    <a:pt x="225" y="2644"/>
                  </a:lnTo>
                  <a:lnTo>
                    <a:pt x="174" y="2546"/>
                  </a:lnTo>
                  <a:lnTo>
                    <a:pt x="128" y="2444"/>
                  </a:lnTo>
                  <a:lnTo>
                    <a:pt x="90" y="2340"/>
                  </a:lnTo>
                  <a:lnTo>
                    <a:pt x="59" y="2233"/>
                  </a:lnTo>
                  <a:lnTo>
                    <a:pt x="34" y="2122"/>
                  </a:lnTo>
                  <a:lnTo>
                    <a:pt x="14" y="2009"/>
                  </a:lnTo>
                  <a:lnTo>
                    <a:pt x="4" y="1895"/>
                  </a:lnTo>
                  <a:lnTo>
                    <a:pt x="0" y="1778"/>
                  </a:lnTo>
                  <a:lnTo>
                    <a:pt x="0" y="1778"/>
                  </a:lnTo>
                  <a:lnTo>
                    <a:pt x="4" y="1661"/>
                  </a:lnTo>
                  <a:lnTo>
                    <a:pt x="14" y="1546"/>
                  </a:lnTo>
                  <a:lnTo>
                    <a:pt x="34" y="1434"/>
                  </a:lnTo>
                  <a:lnTo>
                    <a:pt x="59" y="1324"/>
                  </a:lnTo>
                  <a:lnTo>
                    <a:pt x="90" y="1216"/>
                  </a:lnTo>
                  <a:lnTo>
                    <a:pt x="128" y="1111"/>
                  </a:lnTo>
                  <a:lnTo>
                    <a:pt x="174" y="1010"/>
                  </a:lnTo>
                  <a:lnTo>
                    <a:pt x="225" y="913"/>
                  </a:lnTo>
                  <a:lnTo>
                    <a:pt x="281" y="818"/>
                  </a:lnTo>
                  <a:lnTo>
                    <a:pt x="342" y="728"/>
                  </a:lnTo>
                  <a:lnTo>
                    <a:pt x="409" y="642"/>
                  </a:lnTo>
                  <a:lnTo>
                    <a:pt x="483" y="560"/>
                  </a:lnTo>
                  <a:lnTo>
                    <a:pt x="560" y="483"/>
                  </a:lnTo>
                  <a:lnTo>
                    <a:pt x="641" y="411"/>
                  </a:lnTo>
                  <a:lnTo>
                    <a:pt x="728" y="344"/>
                  </a:lnTo>
                  <a:lnTo>
                    <a:pt x="818" y="281"/>
                  </a:lnTo>
                  <a:lnTo>
                    <a:pt x="911" y="225"/>
                  </a:lnTo>
                  <a:lnTo>
                    <a:pt x="1010" y="174"/>
                  </a:lnTo>
                  <a:lnTo>
                    <a:pt x="1111" y="130"/>
                  </a:lnTo>
                  <a:lnTo>
                    <a:pt x="1215" y="90"/>
                  </a:lnTo>
                  <a:lnTo>
                    <a:pt x="1322" y="59"/>
                  </a:lnTo>
                  <a:lnTo>
                    <a:pt x="1432" y="34"/>
                  </a:lnTo>
                  <a:lnTo>
                    <a:pt x="1545" y="15"/>
                  </a:lnTo>
                  <a:lnTo>
                    <a:pt x="1659" y="4"/>
                  </a:lnTo>
                  <a:lnTo>
                    <a:pt x="177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126">
              <a:extLst>
                <a:ext uri="{FF2B5EF4-FFF2-40B4-BE49-F238E27FC236}">
                  <a16:creationId xmlns:a16="http://schemas.microsoft.com/office/drawing/2014/main" id="{543BD31B-6438-DB61-43F9-1ACCF9392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14513" y="3935413"/>
              <a:ext cx="925513" cy="925513"/>
            </a:xfrm>
            <a:custGeom>
              <a:avLst/>
              <a:gdLst>
                <a:gd name="T0" fmla="*/ 954 w 1750"/>
                <a:gd name="T1" fmla="*/ 4 h 1751"/>
                <a:gd name="T2" fmla="*/ 1104 w 1750"/>
                <a:gd name="T3" fmla="*/ 31 h 1751"/>
                <a:gd name="T4" fmla="*/ 1245 w 1750"/>
                <a:gd name="T5" fmla="*/ 83 h 1751"/>
                <a:gd name="T6" fmla="*/ 910 w 1750"/>
                <a:gd name="T7" fmla="*/ 418 h 1751"/>
                <a:gd name="T8" fmla="*/ 817 w 1750"/>
                <a:gd name="T9" fmla="*/ 421 h 1751"/>
                <a:gd name="T10" fmla="*/ 709 w 1750"/>
                <a:gd name="T11" fmla="*/ 448 h 1751"/>
                <a:gd name="T12" fmla="*/ 613 w 1750"/>
                <a:gd name="T13" fmla="*/ 499 h 1751"/>
                <a:gd name="T14" fmla="*/ 532 w 1750"/>
                <a:gd name="T15" fmla="*/ 571 h 1751"/>
                <a:gd name="T16" fmla="*/ 469 w 1750"/>
                <a:gd name="T17" fmla="*/ 661 h 1751"/>
                <a:gd name="T18" fmla="*/ 430 w 1750"/>
                <a:gd name="T19" fmla="*/ 763 h 1751"/>
                <a:gd name="T20" fmla="*/ 416 w 1750"/>
                <a:gd name="T21" fmla="*/ 876 h 1751"/>
                <a:gd name="T22" fmla="*/ 430 w 1750"/>
                <a:gd name="T23" fmla="*/ 989 h 1751"/>
                <a:gd name="T24" fmla="*/ 469 w 1750"/>
                <a:gd name="T25" fmla="*/ 1092 h 1751"/>
                <a:gd name="T26" fmla="*/ 532 w 1750"/>
                <a:gd name="T27" fmla="*/ 1181 h 1751"/>
                <a:gd name="T28" fmla="*/ 612 w 1750"/>
                <a:gd name="T29" fmla="*/ 1253 h 1751"/>
                <a:gd name="T30" fmla="*/ 708 w 1750"/>
                <a:gd name="T31" fmla="*/ 1304 h 1751"/>
                <a:gd name="T32" fmla="*/ 817 w 1750"/>
                <a:gd name="T33" fmla="*/ 1332 h 1751"/>
                <a:gd name="T34" fmla="*/ 933 w 1750"/>
                <a:gd name="T35" fmla="*/ 1332 h 1751"/>
                <a:gd name="T36" fmla="*/ 1041 w 1750"/>
                <a:gd name="T37" fmla="*/ 1304 h 1751"/>
                <a:gd name="T38" fmla="*/ 1137 w 1750"/>
                <a:gd name="T39" fmla="*/ 1253 h 1751"/>
                <a:gd name="T40" fmla="*/ 1218 w 1750"/>
                <a:gd name="T41" fmla="*/ 1181 h 1751"/>
                <a:gd name="T42" fmla="*/ 1281 w 1750"/>
                <a:gd name="T43" fmla="*/ 1092 h 1751"/>
                <a:gd name="T44" fmla="*/ 1321 w 1750"/>
                <a:gd name="T45" fmla="*/ 989 h 1751"/>
                <a:gd name="T46" fmla="*/ 1334 w 1750"/>
                <a:gd name="T47" fmla="*/ 876 h 1751"/>
                <a:gd name="T48" fmla="*/ 1662 w 1750"/>
                <a:gd name="T49" fmla="*/ 513 h 1751"/>
                <a:gd name="T50" fmla="*/ 1696 w 1750"/>
                <a:gd name="T51" fmla="*/ 575 h 1751"/>
                <a:gd name="T52" fmla="*/ 1736 w 1750"/>
                <a:gd name="T53" fmla="*/ 721 h 1751"/>
                <a:gd name="T54" fmla="*/ 1750 w 1750"/>
                <a:gd name="T55" fmla="*/ 876 h 1751"/>
                <a:gd name="T56" fmla="*/ 1736 w 1750"/>
                <a:gd name="T57" fmla="*/ 1033 h 1751"/>
                <a:gd name="T58" fmla="*/ 1695 w 1750"/>
                <a:gd name="T59" fmla="*/ 1182 h 1751"/>
                <a:gd name="T60" fmla="*/ 1630 w 1750"/>
                <a:gd name="T61" fmla="*/ 1318 h 1751"/>
                <a:gd name="T62" fmla="*/ 1545 w 1750"/>
                <a:gd name="T63" fmla="*/ 1440 h 1751"/>
                <a:gd name="T64" fmla="*/ 1439 w 1750"/>
                <a:gd name="T65" fmla="*/ 1546 h 1751"/>
                <a:gd name="T66" fmla="*/ 1317 w 1750"/>
                <a:gd name="T67" fmla="*/ 1632 h 1751"/>
                <a:gd name="T68" fmla="*/ 1180 w 1750"/>
                <a:gd name="T69" fmla="*/ 1697 h 1751"/>
                <a:gd name="T70" fmla="*/ 1032 w 1750"/>
                <a:gd name="T71" fmla="*/ 1737 h 1751"/>
                <a:gd name="T72" fmla="*/ 875 w 1750"/>
                <a:gd name="T73" fmla="*/ 1751 h 1751"/>
                <a:gd name="T74" fmla="*/ 718 w 1750"/>
                <a:gd name="T75" fmla="*/ 1737 h 1751"/>
                <a:gd name="T76" fmla="*/ 570 w 1750"/>
                <a:gd name="T77" fmla="*/ 1696 h 1751"/>
                <a:gd name="T78" fmla="*/ 433 w 1750"/>
                <a:gd name="T79" fmla="*/ 1632 h 1751"/>
                <a:gd name="T80" fmla="*/ 312 w 1750"/>
                <a:gd name="T81" fmla="*/ 1546 h 1751"/>
                <a:gd name="T82" fmla="*/ 206 w 1750"/>
                <a:gd name="T83" fmla="*/ 1440 h 1751"/>
                <a:gd name="T84" fmla="*/ 120 w 1750"/>
                <a:gd name="T85" fmla="*/ 1318 h 1751"/>
                <a:gd name="T86" fmla="*/ 55 w 1750"/>
                <a:gd name="T87" fmla="*/ 1181 h 1751"/>
                <a:gd name="T88" fmla="*/ 14 w 1750"/>
                <a:gd name="T89" fmla="*/ 1033 h 1751"/>
                <a:gd name="T90" fmla="*/ 0 w 1750"/>
                <a:gd name="T91" fmla="*/ 876 h 1751"/>
                <a:gd name="T92" fmla="*/ 14 w 1750"/>
                <a:gd name="T93" fmla="*/ 718 h 1751"/>
                <a:gd name="T94" fmla="*/ 55 w 1750"/>
                <a:gd name="T95" fmla="*/ 571 h 1751"/>
                <a:gd name="T96" fmla="*/ 120 w 1750"/>
                <a:gd name="T97" fmla="*/ 434 h 1751"/>
                <a:gd name="T98" fmla="*/ 206 w 1750"/>
                <a:gd name="T99" fmla="*/ 311 h 1751"/>
                <a:gd name="T100" fmla="*/ 312 w 1750"/>
                <a:gd name="T101" fmla="*/ 207 h 1751"/>
                <a:gd name="T102" fmla="*/ 433 w 1750"/>
                <a:gd name="T103" fmla="*/ 120 h 1751"/>
                <a:gd name="T104" fmla="*/ 570 w 1750"/>
                <a:gd name="T105" fmla="*/ 55 h 1751"/>
                <a:gd name="T106" fmla="*/ 718 w 1750"/>
                <a:gd name="T107" fmla="*/ 15 h 1751"/>
                <a:gd name="T108" fmla="*/ 875 w 1750"/>
                <a:gd name="T109" fmla="*/ 0 h 1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50" h="1751">
                  <a:moveTo>
                    <a:pt x="875" y="0"/>
                  </a:moveTo>
                  <a:lnTo>
                    <a:pt x="954" y="4"/>
                  </a:lnTo>
                  <a:lnTo>
                    <a:pt x="1030" y="15"/>
                  </a:lnTo>
                  <a:lnTo>
                    <a:pt x="1104" y="31"/>
                  </a:lnTo>
                  <a:lnTo>
                    <a:pt x="1176" y="54"/>
                  </a:lnTo>
                  <a:lnTo>
                    <a:pt x="1245" y="83"/>
                  </a:lnTo>
                  <a:lnTo>
                    <a:pt x="1238" y="90"/>
                  </a:lnTo>
                  <a:lnTo>
                    <a:pt x="910" y="418"/>
                  </a:lnTo>
                  <a:lnTo>
                    <a:pt x="875" y="417"/>
                  </a:lnTo>
                  <a:lnTo>
                    <a:pt x="817" y="421"/>
                  </a:lnTo>
                  <a:lnTo>
                    <a:pt x="762" y="431"/>
                  </a:lnTo>
                  <a:lnTo>
                    <a:pt x="709" y="448"/>
                  </a:lnTo>
                  <a:lnTo>
                    <a:pt x="659" y="471"/>
                  </a:lnTo>
                  <a:lnTo>
                    <a:pt x="613" y="499"/>
                  </a:lnTo>
                  <a:lnTo>
                    <a:pt x="570" y="532"/>
                  </a:lnTo>
                  <a:lnTo>
                    <a:pt x="532" y="571"/>
                  </a:lnTo>
                  <a:lnTo>
                    <a:pt x="498" y="614"/>
                  </a:lnTo>
                  <a:lnTo>
                    <a:pt x="469" y="661"/>
                  </a:lnTo>
                  <a:lnTo>
                    <a:pt x="446" y="710"/>
                  </a:lnTo>
                  <a:lnTo>
                    <a:pt x="430" y="763"/>
                  </a:lnTo>
                  <a:lnTo>
                    <a:pt x="420" y="818"/>
                  </a:lnTo>
                  <a:lnTo>
                    <a:pt x="416" y="876"/>
                  </a:lnTo>
                  <a:lnTo>
                    <a:pt x="420" y="933"/>
                  </a:lnTo>
                  <a:lnTo>
                    <a:pt x="430" y="989"/>
                  </a:lnTo>
                  <a:lnTo>
                    <a:pt x="446" y="1043"/>
                  </a:lnTo>
                  <a:lnTo>
                    <a:pt x="469" y="1092"/>
                  </a:lnTo>
                  <a:lnTo>
                    <a:pt x="498" y="1139"/>
                  </a:lnTo>
                  <a:lnTo>
                    <a:pt x="532" y="1181"/>
                  </a:lnTo>
                  <a:lnTo>
                    <a:pt x="570" y="1219"/>
                  </a:lnTo>
                  <a:lnTo>
                    <a:pt x="612" y="1253"/>
                  </a:lnTo>
                  <a:lnTo>
                    <a:pt x="659" y="1282"/>
                  </a:lnTo>
                  <a:lnTo>
                    <a:pt x="708" y="1304"/>
                  </a:lnTo>
                  <a:lnTo>
                    <a:pt x="762" y="1321"/>
                  </a:lnTo>
                  <a:lnTo>
                    <a:pt x="817" y="1332"/>
                  </a:lnTo>
                  <a:lnTo>
                    <a:pt x="875" y="1336"/>
                  </a:lnTo>
                  <a:lnTo>
                    <a:pt x="933" y="1332"/>
                  </a:lnTo>
                  <a:lnTo>
                    <a:pt x="988" y="1321"/>
                  </a:lnTo>
                  <a:lnTo>
                    <a:pt x="1041" y="1304"/>
                  </a:lnTo>
                  <a:lnTo>
                    <a:pt x="1091" y="1282"/>
                  </a:lnTo>
                  <a:lnTo>
                    <a:pt x="1137" y="1253"/>
                  </a:lnTo>
                  <a:lnTo>
                    <a:pt x="1180" y="1219"/>
                  </a:lnTo>
                  <a:lnTo>
                    <a:pt x="1218" y="1181"/>
                  </a:lnTo>
                  <a:lnTo>
                    <a:pt x="1252" y="1139"/>
                  </a:lnTo>
                  <a:lnTo>
                    <a:pt x="1281" y="1092"/>
                  </a:lnTo>
                  <a:lnTo>
                    <a:pt x="1304" y="1043"/>
                  </a:lnTo>
                  <a:lnTo>
                    <a:pt x="1321" y="989"/>
                  </a:lnTo>
                  <a:lnTo>
                    <a:pt x="1330" y="933"/>
                  </a:lnTo>
                  <a:lnTo>
                    <a:pt x="1334" y="876"/>
                  </a:lnTo>
                  <a:lnTo>
                    <a:pt x="1333" y="841"/>
                  </a:lnTo>
                  <a:lnTo>
                    <a:pt x="1662" y="513"/>
                  </a:lnTo>
                  <a:lnTo>
                    <a:pt x="1668" y="506"/>
                  </a:lnTo>
                  <a:lnTo>
                    <a:pt x="1696" y="575"/>
                  </a:lnTo>
                  <a:lnTo>
                    <a:pt x="1720" y="646"/>
                  </a:lnTo>
                  <a:lnTo>
                    <a:pt x="1736" y="721"/>
                  </a:lnTo>
                  <a:lnTo>
                    <a:pt x="1747" y="798"/>
                  </a:lnTo>
                  <a:lnTo>
                    <a:pt x="1750" y="876"/>
                  </a:lnTo>
                  <a:lnTo>
                    <a:pt x="1747" y="956"/>
                  </a:lnTo>
                  <a:lnTo>
                    <a:pt x="1736" y="1033"/>
                  </a:lnTo>
                  <a:lnTo>
                    <a:pt x="1719" y="1109"/>
                  </a:lnTo>
                  <a:lnTo>
                    <a:pt x="1695" y="1182"/>
                  </a:lnTo>
                  <a:lnTo>
                    <a:pt x="1666" y="1252"/>
                  </a:lnTo>
                  <a:lnTo>
                    <a:pt x="1630" y="1318"/>
                  </a:lnTo>
                  <a:lnTo>
                    <a:pt x="1591" y="1381"/>
                  </a:lnTo>
                  <a:lnTo>
                    <a:pt x="1545" y="1440"/>
                  </a:lnTo>
                  <a:lnTo>
                    <a:pt x="1493" y="1495"/>
                  </a:lnTo>
                  <a:lnTo>
                    <a:pt x="1439" y="1546"/>
                  </a:lnTo>
                  <a:lnTo>
                    <a:pt x="1379" y="1591"/>
                  </a:lnTo>
                  <a:lnTo>
                    <a:pt x="1317" y="1632"/>
                  </a:lnTo>
                  <a:lnTo>
                    <a:pt x="1251" y="1667"/>
                  </a:lnTo>
                  <a:lnTo>
                    <a:pt x="1180" y="1697"/>
                  </a:lnTo>
                  <a:lnTo>
                    <a:pt x="1108" y="1720"/>
                  </a:lnTo>
                  <a:lnTo>
                    <a:pt x="1032" y="1737"/>
                  </a:lnTo>
                  <a:lnTo>
                    <a:pt x="954" y="1748"/>
                  </a:lnTo>
                  <a:lnTo>
                    <a:pt x="875" y="1751"/>
                  </a:lnTo>
                  <a:lnTo>
                    <a:pt x="796" y="1748"/>
                  </a:lnTo>
                  <a:lnTo>
                    <a:pt x="718" y="1737"/>
                  </a:lnTo>
                  <a:lnTo>
                    <a:pt x="642" y="1720"/>
                  </a:lnTo>
                  <a:lnTo>
                    <a:pt x="570" y="1696"/>
                  </a:lnTo>
                  <a:lnTo>
                    <a:pt x="500" y="1667"/>
                  </a:lnTo>
                  <a:lnTo>
                    <a:pt x="433" y="1632"/>
                  </a:lnTo>
                  <a:lnTo>
                    <a:pt x="371" y="1591"/>
                  </a:lnTo>
                  <a:lnTo>
                    <a:pt x="312" y="1546"/>
                  </a:lnTo>
                  <a:lnTo>
                    <a:pt x="257" y="1495"/>
                  </a:lnTo>
                  <a:lnTo>
                    <a:pt x="206" y="1440"/>
                  </a:lnTo>
                  <a:lnTo>
                    <a:pt x="161" y="1380"/>
                  </a:lnTo>
                  <a:lnTo>
                    <a:pt x="120" y="1318"/>
                  </a:lnTo>
                  <a:lnTo>
                    <a:pt x="85" y="1252"/>
                  </a:lnTo>
                  <a:lnTo>
                    <a:pt x="55" y="1181"/>
                  </a:lnTo>
                  <a:lnTo>
                    <a:pt x="31" y="1109"/>
                  </a:lnTo>
                  <a:lnTo>
                    <a:pt x="14" y="1033"/>
                  </a:lnTo>
                  <a:lnTo>
                    <a:pt x="3" y="955"/>
                  </a:lnTo>
                  <a:lnTo>
                    <a:pt x="0" y="876"/>
                  </a:lnTo>
                  <a:lnTo>
                    <a:pt x="3" y="796"/>
                  </a:lnTo>
                  <a:lnTo>
                    <a:pt x="14" y="718"/>
                  </a:lnTo>
                  <a:lnTo>
                    <a:pt x="31" y="643"/>
                  </a:lnTo>
                  <a:lnTo>
                    <a:pt x="55" y="571"/>
                  </a:lnTo>
                  <a:lnTo>
                    <a:pt x="85" y="501"/>
                  </a:lnTo>
                  <a:lnTo>
                    <a:pt x="120" y="434"/>
                  </a:lnTo>
                  <a:lnTo>
                    <a:pt x="161" y="371"/>
                  </a:lnTo>
                  <a:lnTo>
                    <a:pt x="206" y="311"/>
                  </a:lnTo>
                  <a:lnTo>
                    <a:pt x="257" y="257"/>
                  </a:lnTo>
                  <a:lnTo>
                    <a:pt x="312" y="207"/>
                  </a:lnTo>
                  <a:lnTo>
                    <a:pt x="371" y="161"/>
                  </a:lnTo>
                  <a:lnTo>
                    <a:pt x="433" y="120"/>
                  </a:lnTo>
                  <a:lnTo>
                    <a:pt x="500" y="84"/>
                  </a:lnTo>
                  <a:lnTo>
                    <a:pt x="570" y="55"/>
                  </a:lnTo>
                  <a:lnTo>
                    <a:pt x="642" y="31"/>
                  </a:lnTo>
                  <a:lnTo>
                    <a:pt x="718" y="15"/>
                  </a:lnTo>
                  <a:lnTo>
                    <a:pt x="796" y="4"/>
                  </a:lnTo>
                  <a:lnTo>
                    <a:pt x="87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127">
              <a:extLst>
                <a:ext uri="{FF2B5EF4-FFF2-40B4-BE49-F238E27FC236}">
                  <a16:creationId xmlns:a16="http://schemas.microsoft.com/office/drawing/2014/main" id="{9A09AC40-EA41-CBEF-5805-AD37D2D9260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49375" y="3246438"/>
              <a:ext cx="1139825" cy="1146175"/>
            </a:xfrm>
            <a:custGeom>
              <a:avLst/>
              <a:gdLst>
                <a:gd name="T0" fmla="*/ 1509 w 2153"/>
                <a:gd name="T1" fmla="*/ 1 h 2166"/>
                <a:gd name="T2" fmla="*/ 1530 w 2153"/>
                <a:gd name="T3" fmla="*/ 14 h 2166"/>
                <a:gd name="T4" fmla="*/ 1539 w 2153"/>
                <a:gd name="T5" fmla="*/ 37 h 2166"/>
                <a:gd name="T6" fmla="*/ 1685 w 2153"/>
                <a:gd name="T7" fmla="*/ 239 h 2166"/>
                <a:gd name="T8" fmla="*/ 1726 w 2153"/>
                <a:gd name="T9" fmla="*/ 211 h 2166"/>
                <a:gd name="T10" fmla="*/ 1771 w 2153"/>
                <a:gd name="T11" fmla="*/ 203 h 2166"/>
                <a:gd name="T12" fmla="*/ 1818 w 2153"/>
                <a:gd name="T13" fmla="*/ 211 h 2166"/>
                <a:gd name="T14" fmla="*/ 1859 w 2153"/>
                <a:gd name="T15" fmla="*/ 239 h 2166"/>
                <a:gd name="T16" fmla="*/ 1949 w 2153"/>
                <a:gd name="T17" fmla="*/ 333 h 2166"/>
                <a:gd name="T18" fmla="*/ 1967 w 2153"/>
                <a:gd name="T19" fmla="*/ 385 h 2166"/>
                <a:gd name="T20" fmla="*/ 1961 w 2153"/>
                <a:gd name="T21" fmla="*/ 438 h 2166"/>
                <a:gd name="T22" fmla="*/ 1931 w 2153"/>
                <a:gd name="T23" fmla="*/ 486 h 2166"/>
                <a:gd name="T24" fmla="*/ 2115 w 2153"/>
                <a:gd name="T25" fmla="*/ 613 h 2166"/>
                <a:gd name="T26" fmla="*/ 2140 w 2153"/>
                <a:gd name="T27" fmla="*/ 624 h 2166"/>
                <a:gd name="T28" fmla="*/ 2152 w 2153"/>
                <a:gd name="T29" fmla="*/ 647 h 2166"/>
                <a:gd name="T30" fmla="*/ 2149 w 2153"/>
                <a:gd name="T31" fmla="*/ 672 h 2166"/>
                <a:gd name="T32" fmla="*/ 1666 w 2153"/>
                <a:gd name="T33" fmla="*/ 1158 h 2166"/>
                <a:gd name="T34" fmla="*/ 1613 w 2153"/>
                <a:gd name="T35" fmla="*/ 1197 h 2166"/>
                <a:gd name="T36" fmla="*/ 1551 w 2153"/>
                <a:gd name="T37" fmla="*/ 1216 h 2166"/>
                <a:gd name="T38" fmla="*/ 1512 w 2153"/>
                <a:gd name="T39" fmla="*/ 1219 h 2166"/>
                <a:gd name="T40" fmla="*/ 1491 w 2153"/>
                <a:gd name="T41" fmla="*/ 1217 h 2166"/>
                <a:gd name="T42" fmla="*/ 286 w 2153"/>
                <a:gd name="T43" fmla="*/ 2131 h 2166"/>
                <a:gd name="T44" fmla="*/ 244 w 2153"/>
                <a:gd name="T45" fmla="*/ 2156 h 2166"/>
                <a:gd name="T46" fmla="*/ 108 w 2153"/>
                <a:gd name="T47" fmla="*/ 2166 h 2166"/>
                <a:gd name="T48" fmla="*/ 78 w 2153"/>
                <a:gd name="T49" fmla="*/ 2164 h 2166"/>
                <a:gd name="T50" fmla="*/ 35 w 2153"/>
                <a:gd name="T51" fmla="*/ 2142 h 2166"/>
                <a:gd name="T52" fmla="*/ 7 w 2153"/>
                <a:gd name="T53" fmla="*/ 2104 h 2166"/>
                <a:gd name="T54" fmla="*/ 0 w 2153"/>
                <a:gd name="T55" fmla="*/ 2054 h 2166"/>
                <a:gd name="T56" fmla="*/ 12 w 2153"/>
                <a:gd name="T57" fmla="*/ 1926 h 2166"/>
                <a:gd name="T58" fmla="*/ 37 w 2153"/>
                <a:gd name="T59" fmla="*/ 1885 h 2166"/>
                <a:gd name="T60" fmla="*/ 470 w 2153"/>
                <a:gd name="T61" fmla="*/ 1453 h 2166"/>
                <a:gd name="T62" fmla="*/ 785 w 2153"/>
                <a:gd name="T63" fmla="*/ 1137 h 2166"/>
                <a:gd name="T64" fmla="*/ 934 w 2153"/>
                <a:gd name="T65" fmla="*/ 667 h 2166"/>
                <a:gd name="T66" fmla="*/ 934 w 2153"/>
                <a:gd name="T67" fmla="*/ 613 h 2166"/>
                <a:gd name="T68" fmla="*/ 952 w 2153"/>
                <a:gd name="T69" fmla="*/ 545 h 2166"/>
                <a:gd name="T70" fmla="*/ 994 w 2153"/>
                <a:gd name="T71" fmla="*/ 486 h 2166"/>
                <a:gd name="T72" fmla="*/ 1478 w 2153"/>
                <a:gd name="T73" fmla="*/ 4 h 2166"/>
                <a:gd name="T74" fmla="*/ 1497 w 2153"/>
                <a:gd name="T75" fmla="*/ 0 h 2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153" h="2166">
                  <a:moveTo>
                    <a:pt x="1497" y="0"/>
                  </a:moveTo>
                  <a:lnTo>
                    <a:pt x="1509" y="1"/>
                  </a:lnTo>
                  <a:lnTo>
                    <a:pt x="1520" y="6"/>
                  </a:lnTo>
                  <a:lnTo>
                    <a:pt x="1530" y="14"/>
                  </a:lnTo>
                  <a:lnTo>
                    <a:pt x="1536" y="25"/>
                  </a:lnTo>
                  <a:lnTo>
                    <a:pt x="1539" y="37"/>
                  </a:lnTo>
                  <a:lnTo>
                    <a:pt x="1565" y="359"/>
                  </a:lnTo>
                  <a:lnTo>
                    <a:pt x="1685" y="239"/>
                  </a:lnTo>
                  <a:lnTo>
                    <a:pt x="1704" y="222"/>
                  </a:lnTo>
                  <a:lnTo>
                    <a:pt x="1726" y="211"/>
                  </a:lnTo>
                  <a:lnTo>
                    <a:pt x="1748" y="204"/>
                  </a:lnTo>
                  <a:lnTo>
                    <a:pt x="1771" y="203"/>
                  </a:lnTo>
                  <a:lnTo>
                    <a:pt x="1795" y="204"/>
                  </a:lnTo>
                  <a:lnTo>
                    <a:pt x="1818" y="211"/>
                  </a:lnTo>
                  <a:lnTo>
                    <a:pt x="1840" y="222"/>
                  </a:lnTo>
                  <a:lnTo>
                    <a:pt x="1859" y="239"/>
                  </a:lnTo>
                  <a:lnTo>
                    <a:pt x="1931" y="312"/>
                  </a:lnTo>
                  <a:lnTo>
                    <a:pt x="1949" y="333"/>
                  </a:lnTo>
                  <a:lnTo>
                    <a:pt x="1961" y="359"/>
                  </a:lnTo>
                  <a:lnTo>
                    <a:pt x="1967" y="385"/>
                  </a:lnTo>
                  <a:lnTo>
                    <a:pt x="1967" y="412"/>
                  </a:lnTo>
                  <a:lnTo>
                    <a:pt x="1961" y="438"/>
                  </a:lnTo>
                  <a:lnTo>
                    <a:pt x="1949" y="463"/>
                  </a:lnTo>
                  <a:lnTo>
                    <a:pt x="1931" y="486"/>
                  </a:lnTo>
                  <a:lnTo>
                    <a:pt x="1826" y="590"/>
                  </a:lnTo>
                  <a:lnTo>
                    <a:pt x="2115" y="613"/>
                  </a:lnTo>
                  <a:lnTo>
                    <a:pt x="2128" y="617"/>
                  </a:lnTo>
                  <a:lnTo>
                    <a:pt x="2140" y="624"/>
                  </a:lnTo>
                  <a:lnTo>
                    <a:pt x="2147" y="634"/>
                  </a:lnTo>
                  <a:lnTo>
                    <a:pt x="2152" y="647"/>
                  </a:lnTo>
                  <a:lnTo>
                    <a:pt x="2153" y="659"/>
                  </a:lnTo>
                  <a:lnTo>
                    <a:pt x="2149" y="672"/>
                  </a:lnTo>
                  <a:lnTo>
                    <a:pt x="2141" y="684"/>
                  </a:lnTo>
                  <a:lnTo>
                    <a:pt x="1666" y="1158"/>
                  </a:lnTo>
                  <a:lnTo>
                    <a:pt x="1640" y="1180"/>
                  </a:lnTo>
                  <a:lnTo>
                    <a:pt x="1613" y="1197"/>
                  </a:lnTo>
                  <a:lnTo>
                    <a:pt x="1583" y="1209"/>
                  </a:lnTo>
                  <a:lnTo>
                    <a:pt x="1551" y="1216"/>
                  </a:lnTo>
                  <a:lnTo>
                    <a:pt x="1519" y="1220"/>
                  </a:lnTo>
                  <a:lnTo>
                    <a:pt x="1512" y="1219"/>
                  </a:lnTo>
                  <a:lnTo>
                    <a:pt x="1503" y="1219"/>
                  </a:lnTo>
                  <a:lnTo>
                    <a:pt x="1491" y="1217"/>
                  </a:lnTo>
                  <a:lnTo>
                    <a:pt x="1220" y="1197"/>
                  </a:lnTo>
                  <a:lnTo>
                    <a:pt x="286" y="2131"/>
                  </a:lnTo>
                  <a:lnTo>
                    <a:pt x="267" y="2147"/>
                  </a:lnTo>
                  <a:lnTo>
                    <a:pt x="244" y="2156"/>
                  </a:lnTo>
                  <a:lnTo>
                    <a:pt x="219" y="2161"/>
                  </a:lnTo>
                  <a:lnTo>
                    <a:pt x="108" y="2166"/>
                  </a:lnTo>
                  <a:lnTo>
                    <a:pt x="103" y="2166"/>
                  </a:lnTo>
                  <a:lnTo>
                    <a:pt x="78" y="2164"/>
                  </a:lnTo>
                  <a:lnTo>
                    <a:pt x="55" y="2155"/>
                  </a:lnTo>
                  <a:lnTo>
                    <a:pt x="35" y="2142"/>
                  </a:lnTo>
                  <a:lnTo>
                    <a:pt x="19" y="2124"/>
                  </a:lnTo>
                  <a:lnTo>
                    <a:pt x="7" y="2104"/>
                  </a:lnTo>
                  <a:lnTo>
                    <a:pt x="0" y="2080"/>
                  </a:lnTo>
                  <a:lnTo>
                    <a:pt x="0" y="2054"/>
                  </a:lnTo>
                  <a:lnTo>
                    <a:pt x="8" y="1950"/>
                  </a:lnTo>
                  <a:lnTo>
                    <a:pt x="12" y="1926"/>
                  </a:lnTo>
                  <a:lnTo>
                    <a:pt x="23" y="1904"/>
                  </a:lnTo>
                  <a:lnTo>
                    <a:pt x="37" y="1885"/>
                  </a:lnTo>
                  <a:lnTo>
                    <a:pt x="171" y="1753"/>
                  </a:lnTo>
                  <a:lnTo>
                    <a:pt x="470" y="1453"/>
                  </a:lnTo>
                  <a:lnTo>
                    <a:pt x="477" y="1447"/>
                  </a:lnTo>
                  <a:lnTo>
                    <a:pt x="785" y="1137"/>
                  </a:lnTo>
                  <a:lnTo>
                    <a:pt x="957" y="965"/>
                  </a:lnTo>
                  <a:lnTo>
                    <a:pt x="934" y="667"/>
                  </a:lnTo>
                  <a:lnTo>
                    <a:pt x="933" y="649"/>
                  </a:lnTo>
                  <a:lnTo>
                    <a:pt x="934" y="613"/>
                  </a:lnTo>
                  <a:lnTo>
                    <a:pt x="940" y="578"/>
                  </a:lnTo>
                  <a:lnTo>
                    <a:pt x="952" y="545"/>
                  </a:lnTo>
                  <a:lnTo>
                    <a:pt x="970" y="514"/>
                  </a:lnTo>
                  <a:lnTo>
                    <a:pt x="994" y="486"/>
                  </a:lnTo>
                  <a:lnTo>
                    <a:pt x="1469" y="12"/>
                  </a:lnTo>
                  <a:lnTo>
                    <a:pt x="1478" y="4"/>
                  </a:lnTo>
                  <a:lnTo>
                    <a:pt x="1488" y="1"/>
                  </a:lnTo>
                  <a:lnTo>
                    <a:pt x="149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1026" name="Picture 2">
            <a:extLst>
              <a:ext uri="{FF2B5EF4-FFF2-40B4-BE49-F238E27FC236}">
                <a16:creationId xmlns:a16="http://schemas.microsoft.com/office/drawing/2014/main" id="{7261C6A0-DCB9-B714-22E1-AA61FF7AF3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2601" y="1972733"/>
            <a:ext cx="749298" cy="7492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>
            <a:extLst>
              <a:ext uri="{FF2B5EF4-FFF2-40B4-BE49-F238E27FC236}">
                <a16:creationId xmlns:a16="http://schemas.microsoft.com/office/drawing/2014/main" id="{1B5C8157-3AB6-1C51-0E88-E935A696FFE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888" t="50370" r="44000" b="16667"/>
          <a:stretch/>
        </p:blipFill>
        <p:spPr bwMode="auto">
          <a:xfrm>
            <a:off x="6252633" y="4762500"/>
            <a:ext cx="549573" cy="448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>
            <a:extLst>
              <a:ext uri="{FF2B5EF4-FFF2-40B4-BE49-F238E27FC236}">
                <a16:creationId xmlns:a16="http://schemas.microsoft.com/office/drawing/2014/main" id="{BB92BBB7-EE5C-D96F-EEDA-FE9D1E179E6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048" t="28518" r="21403" b="28889"/>
          <a:stretch/>
        </p:blipFill>
        <p:spPr bwMode="auto">
          <a:xfrm>
            <a:off x="4813301" y="4313766"/>
            <a:ext cx="330477" cy="444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>
            <a:extLst>
              <a:ext uri="{FF2B5EF4-FFF2-40B4-BE49-F238E27FC236}">
                <a16:creationId xmlns:a16="http://schemas.microsoft.com/office/drawing/2014/main" id="{71F3A4FD-2D1B-1B06-3540-90F3B2AC111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52" t="50556" r="74676" b="2222"/>
          <a:stretch/>
        </p:blipFill>
        <p:spPr bwMode="auto">
          <a:xfrm>
            <a:off x="4351865" y="3526367"/>
            <a:ext cx="507551" cy="5460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>
            <a:extLst>
              <a:ext uri="{FF2B5EF4-FFF2-40B4-BE49-F238E27FC236}">
                <a16:creationId xmlns:a16="http://schemas.microsoft.com/office/drawing/2014/main" id="{ED86318A-FD3F-7D76-E1F6-8279BAAAE9D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Marke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641" t="18397" r="24528" b="22170"/>
          <a:stretch/>
        </p:blipFill>
        <p:spPr bwMode="auto">
          <a:xfrm>
            <a:off x="4779433" y="2048933"/>
            <a:ext cx="474134" cy="533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>
            <a:extLst>
              <a:ext uri="{FF2B5EF4-FFF2-40B4-BE49-F238E27FC236}">
                <a16:creationId xmlns:a16="http://schemas.microsoft.com/office/drawing/2014/main" id="{69E501F7-66CE-04EB-E9CE-7A0354E9ADC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82" t="52593" r="87946" b="18333"/>
          <a:stretch/>
        </p:blipFill>
        <p:spPr bwMode="auto">
          <a:xfrm>
            <a:off x="7366001" y="2688167"/>
            <a:ext cx="508000" cy="6646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32" descr="Logo&#10;&#10;Description automatically generated">
            <a:extLst>
              <a:ext uri="{FF2B5EF4-FFF2-40B4-BE49-F238E27FC236}">
                <a16:creationId xmlns:a16="http://schemas.microsoft.com/office/drawing/2014/main" id="{7B8462F9-F2D1-E4DA-44BF-BE4633F5DD7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3850" y="2984501"/>
            <a:ext cx="1929293" cy="449044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7E1DD836-4645-FE4D-CCFF-50FDC61D451E}"/>
              </a:ext>
            </a:extLst>
          </p:cNvPr>
          <p:cNvSpPr txBox="1"/>
          <p:nvPr/>
        </p:nvSpPr>
        <p:spPr>
          <a:xfrm>
            <a:off x="4876800" y="3433233"/>
            <a:ext cx="246803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ain a competitive edge using the best tools and techniques to build a better you .</a:t>
            </a:r>
          </a:p>
        </p:txBody>
      </p:sp>
    </p:spTree>
    <p:extLst>
      <p:ext uri="{BB962C8B-B14F-4D97-AF65-F5344CB8AC3E}">
        <p14:creationId xmlns:p14="http://schemas.microsoft.com/office/powerpoint/2010/main" val="24344007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195149BF-FD14-F0B0-C3C3-7E160FCEB44C}"/>
              </a:ext>
            </a:extLst>
          </p:cNvPr>
          <p:cNvGrpSpPr/>
          <p:nvPr/>
        </p:nvGrpSpPr>
        <p:grpSpPr>
          <a:xfrm>
            <a:off x="3441842" y="1304820"/>
            <a:ext cx="5568593" cy="5322012"/>
            <a:chOff x="4379520" y="1716091"/>
            <a:chExt cx="3421848" cy="3428588"/>
          </a:xfrm>
        </p:grpSpPr>
        <p:sp>
          <p:nvSpPr>
            <p:cNvPr id="3" name="Freeform 58">
              <a:extLst>
                <a:ext uri="{FF2B5EF4-FFF2-40B4-BE49-F238E27FC236}">
                  <a16:creationId xmlns:a16="http://schemas.microsoft.com/office/drawing/2014/main" id="{189F6382-0AEA-AF77-3AE7-A86EAEF5A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9520" y="1729197"/>
              <a:ext cx="3421848" cy="3415482"/>
            </a:xfrm>
            <a:custGeom>
              <a:avLst/>
              <a:gdLst>
                <a:gd name="T0" fmla="*/ 1076 w 2151"/>
                <a:gd name="T1" fmla="*/ 0 h 2149"/>
                <a:gd name="T2" fmla="*/ 1076 w 2151"/>
                <a:gd name="T3" fmla="*/ 0 h 2149"/>
                <a:gd name="T4" fmla="*/ 1192 w 2151"/>
                <a:gd name="T5" fmla="*/ 7 h 2149"/>
                <a:gd name="T6" fmla="*/ 1305 w 2151"/>
                <a:gd name="T7" fmla="*/ 25 h 2149"/>
                <a:gd name="T8" fmla="*/ 1415 w 2151"/>
                <a:gd name="T9" fmla="*/ 56 h 2149"/>
                <a:gd name="T10" fmla="*/ 1519 w 2151"/>
                <a:gd name="T11" fmla="*/ 95 h 2149"/>
                <a:gd name="T12" fmla="*/ 1617 w 2151"/>
                <a:gd name="T13" fmla="*/ 146 h 2149"/>
                <a:gd name="T14" fmla="*/ 1712 w 2151"/>
                <a:gd name="T15" fmla="*/ 209 h 2149"/>
                <a:gd name="T16" fmla="*/ 1800 w 2151"/>
                <a:gd name="T17" fmla="*/ 281 h 2149"/>
                <a:gd name="T18" fmla="*/ 1879 w 2151"/>
                <a:gd name="T19" fmla="*/ 362 h 2149"/>
                <a:gd name="T20" fmla="*/ 1951 w 2151"/>
                <a:gd name="T21" fmla="*/ 450 h 2149"/>
                <a:gd name="T22" fmla="*/ 2011 w 2151"/>
                <a:gd name="T23" fmla="*/ 545 h 2149"/>
                <a:gd name="T24" fmla="*/ 2060 w 2151"/>
                <a:gd name="T25" fmla="*/ 643 h 2149"/>
                <a:gd name="T26" fmla="*/ 2097 w 2151"/>
                <a:gd name="T27" fmla="*/ 745 h 2149"/>
                <a:gd name="T28" fmla="*/ 2127 w 2151"/>
                <a:gd name="T29" fmla="*/ 852 h 2149"/>
                <a:gd name="T30" fmla="*/ 2144 w 2151"/>
                <a:gd name="T31" fmla="*/ 961 h 2149"/>
                <a:gd name="T32" fmla="*/ 2151 w 2151"/>
                <a:gd name="T33" fmla="*/ 1074 h 2149"/>
                <a:gd name="T34" fmla="*/ 2144 w 2151"/>
                <a:gd name="T35" fmla="*/ 1188 h 2149"/>
                <a:gd name="T36" fmla="*/ 2127 w 2151"/>
                <a:gd name="T37" fmla="*/ 1299 h 2149"/>
                <a:gd name="T38" fmla="*/ 2097 w 2151"/>
                <a:gd name="T39" fmla="*/ 1404 h 2149"/>
                <a:gd name="T40" fmla="*/ 2060 w 2151"/>
                <a:gd name="T41" fmla="*/ 1506 h 2149"/>
                <a:gd name="T42" fmla="*/ 2011 w 2151"/>
                <a:gd name="T43" fmla="*/ 1603 h 2149"/>
                <a:gd name="T44" fmla="*/ 1949 w 2151"/>
                <a:gd name="T45" fmla="*/ 1701 h 2149"/>
                <a:gd name="T46" fmla="*/ 1877 w 2151"/>
                <a:gd name="T47" fmla="*/ 1789 h 2149"/>
                <a:gd name="T48" fmla="*/ 1795 w 2151"/>
                <a:gd name="T49" fmla="*/ 1873 h 2149"/>
                <a:gd name="T50" fmla="*/ 1707 w 2151"/>
                <a:gd name="T51" fmla="*/ 1944 h 2149"/>
                <a:gd name="T52" fmla="*/ 1610 w 2151"/>
                <a:gd name="T53" fmla="*/ 2007 h 2149"/>
                <a:gd name="T54" fmla="*/ 1512 w 2151"/>
                <a:gd name="T55" fmla="*/ 2056 h 2149"/>
                <a:gd name="T56" fmla="*/ 1410 w 2151"/>
                <a:gd name="T57" fmla="*/ 2095 h 2149"/>
                <a:gd name="T58" fmla="*/ 1301 w 2151"/>
                <a:gd name="T59" fmla="*/ 2125 h 2149"/>
                <a:gd name="T60" fmla="*/ 1189 w 2151"/>
                <a:gd name="T61" fmla="*/ 2142 h 2149"/>
                <a:gd name="T62" fmla="*/ 1076 w 2151"/>
                <a:gd name="T63" fmla="*/ 2149 h 2149"/>
                <a:gd name="T64" fmla="*/ 1076 w 2151"/>
                <a:gd name="T65" fmla="*/ 2149 h 2149"/>
                <a:gd name="T66" fmla="*/ 959 w 2151"/>
                <a:gd name="T67" fmla="*/ 2142 h 2149"/>
                <a:gd name="T68" fmla="*/ 846 w 2151"/>
                <a:gd name="T69" fmla="*/ 2123 h 2149"/>
                <a:gd name="T70" fmla="*/ 737 w 2151"/>
                <a:gd name="T71" fmla="*/ 2093 h 2149"/>
                <a:gd name="T72" fmla="*/ 632 w 2151"/>
                <a:gd name="T73" fmla="*/ 2054 h 2149"/>
                <a:gd name="T74" fmla="*/ 535 w 2151"/>
                <a:gd name="T75" fmla="*/ 2003 h 2149"/>
                <a:gd name="T76" fmla="*/ 439 w 2151"/>
                <a:gd name="T77" fmla="*/ 1940 h 2149"/>
                <a:gd name="T78" fmla="*/ 351 w 2151"/>
                <a:gd name="T79" fmla="*/ 1868 h 2149"/>
                <a:gd name="T80" fmla="*/ 272 w 2151"/>
                <a:gd name="T81" fmla="*/ 1787 h 2149"/>
                <a:gd name="T82" fmla="*/ 200 w 2151"/>
                <a:gd name="T83" fmla="*/ 1699 h 2149"/>
                <a:gd name="T84" fmla="*/ 140 w 2151"/>
                <a:gd name="T85" fmla="*/ 1603 h 2149"/>
                <a:gd name="T86" fmla="*/ 91 w 2151"/>
                <a:gd name="T87" fmla="*/ 1506 h 2149"/>
                <a:gd name="T88" fmla="*/ 52 w 2151"/>
                <a:gd name="T89" fmla="*/ 1404 h 2149"/>
                <a:gd name="T90" fmla="*/ 24 w 2151"/>
                <a:gd name="T91" fmla="*/ 1299 h 2149"/>
                <a:gd name="T92" fmla="*/ 7 w 2151"/>
                <a:gd name="T93" fmla="*/ 1188 h 2149"/>
                <a:gd name="T94" fmla="*/ 0 w 2151"/>
                <a:gd name="T95" fmla="*/ 1074 h 2149"/>
                <a:gd name="T96" fmla="*/ 7 w 2151"/>
                <a:gd name="T97" fmla="*/ 961 h 2149"/>
                <a:gd name="T98" fmla="*/ 24 w 2151"/>
                <a:gd name="T99" fmla="*/ 852 h 2149"/>
                <a:gd name="T100" fmla="*/ 52 w 2151"/>
                <a:gd name="T101" fmla="*/ 745 h 2149"/>
                <a:gd name="T102" fmla="*/ 91 w 2151"/>
                <a:gd name="T103" fmla="*/ 643 h 2149"/>
                <a:gd name="T104" fmla="*/ 140 w 2151"/>
                <a:gd name="T105" fmla="*/ 548 h 2149"/>
                <a:gd name="T106" fmla="*/ 202 w 2151"/>
                <a:gd name="T107" fmla="*/ 450 h 2149"/>
                <a:gd name="T108" fmla="*/ 274 w 2151"/>
                <a:gd name="T109" fmla="*/ 360 h 2149"/>
                <a:gd name="T110" fmla="*/ 356 w 2151"/>
                <a:gd name="T111" fmla="*/ 278 h 2149"/>
                <a:gd name="T112" fmla="*/ 444 w 2151"/>
                <a:gd name="T113" fmla="*/ 204 h 2149"/>
                <a:gd name="T114" fmla="*/ 541 w 2151"/>
                <a:gd name="T115" fmla="*/ 141 h 2149"/>
                <a:gd name="T116" fmla="*/ 639 w 2151"/>
                <a:gd name="T117" fmla="*/ 93 h 2149"/>
                <a:gd name="T118" fmla="*/ 741 w 2151"/>
                <a:gd name="T119" fmla="*/ 53 h 2149"/>
                <a:gd name="T120" fmla="*/ 850 w 2151"/>
                <a:gd name="T121" fmla="*/ 25 h 2149"/>
                <a:gd name="T122" fmla="*/ 959 w 2151"/>
                <a:gd name="T123" fmla="*/ 7 h 2149"/>
                <a:gd name="T124" fmla="*/ 1076 w 2151"/>
                <a:gd name="T125" fmla="*/ 0 h 2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51" h="2149">
                  <a:moveTo>
                    <a:pt x="1076" y="0"/>
                  </a:moveTo>
                  <a:lnTo>
                    <a:pt x="1076" y="0"/>
                  </a:lnTo>
                  <a:lnTo>
                    <a:pt x="1192" y="7"/>
                  </a:lnTo>
                  <a:lnTo>
                    <a:pt x="1305" y="25"/>
                  </a:lnTo>
                  <a:lnTo>
                    <a:pt x="1415" y="56"/>
                  </a:lnTo>
                  <a:lnTo>
                    <a:pt x="1519" y="95"/>
                  </a:lnTo>
                  <a:lnTo>
                    <a:pt x="1617" y="146"/>
                  </a:lnTo>
                  <a:lnTo>
                    <a:pt x="1712" y="209"/>
                  </a:lnTo>
                  <a:lnTo>
                    <a:pt x="1800" y="281"/>
                  </a:lnTo>
                  <a:lnTo>
                    <a:pt x="1879" y="362"/>
                  </a:lnTo>
                  <a:lnTo>
                    <a:pt x="1951" y="450"/>
                  </a:lnTo>
                  <a:lnTo>
                    <a:pt x="2011" y="545"/>
                  </a:lnTo>
                  <a:lnTo>
                    <a:pt x="2060" y="643"/>
                  </a:lnTo>
                  <a:lnTo>
                    <a:pt x="2097" y="745"/>
                  </a:lnTo>
                  <a:lnTo>
                    <a:pt x="2127" y="852"/>
                  </a:lnTo>
                  <a:lnTo>
                    <a:pt x="2144" y="961"/>
                  </a:lnTo>
                  <a:lnTo>
                    <a:pt x="2151" y="1074"/>
                  </a:lnTo>
                  <a:lnTo>
                    <a:pt x="2144" y="1188"/>
                  </a:lnTo>
                  <a:lnTo>
                    <a:pt x="2127" y="1299"/>
                  </a:lnTo>
                  <a:lnTo>
                    <a:pt x="2097" y="1404"/>
                  </a:lnTo>
                  <a:lnTo>
                    <a:pt x="2060" y="1506"/>
                  </a:lnTo>
                  <a:lnTo>
                    <a:pt x="2011" y="1603"/>
                  </a:lnTo>
                  <a:lnTo>
                    <a:pt x="1949" y="1701"/>
                  </a:lnTo>
                  <a:lnTo>
                    <a:pt x="1877" y="1789"/>
                  </a:lnTo>
                  <a:lnTo>
                    <a:pt x="1795" y="1873"/>
                  </a:lnTo>
                  <a:lnTo>
                    <a:pt x="1707" y="1944"/>
                  </a:lnTo>
                  <a:lnTo>
                    <a:pt x="1610" y="2007"/>
                  </a:lnTo>
                  <a:lnTo>
                    <a:pt x="1512" y="2056"/>
                  </a:lnTo>
                  <a:lnTo>
                    <a:pt x="1410" y="2095"/>
                  </a:lnTo>
                  <a:lnTo>
                    <a:pt x="1301" y="2125"/>
                  </a:lnTo>
                  <a:lnTo>
                    <a:pt x="1189" y="2142"/>
                  </a:lnTo>
                  <a:lnTo>
                    <a:pt x="1076" y="2149"/>
                  </a:lnTo>
                  <a:lnTo>
                    <a:pt x="1076" y="2149"/>
                  </a:lnTo>
                  <a:lnTo>
                    <a:pt x="959" y="2142"/>
                  </a:lnTo>
                  <a:lnTo>
                    <a:pt x="846" y="2123"/>
                  </a:lnTo>
                  <a:lnTo>
                    <a:pt x="737" y="2093"/>
                  </a:lnTo>
                  <a:lnTo>
                    <a:pt x="632" y="2054"/>
                  </a:lnTo>
                  <a:lnTo>
                    <a:pt x="535" y="2003"/>
                  </a:lnTo>
                  <a:lnTo>
                    <a:pt x="439" y="1940"/>
                  </a:lnTo>
                  <a:lnTo>
                    <a:pt x="351" y="1868"/>
                  </a:lnTo>
                  <a:lnTo>
                    <a:pt x="272" y="1787"/>
                  </a:lnTo>
                  <a:lnTo>
                    <a:pt x="200" y="1699"/>
                  </a:lnTo>
                  <a:lnTo>
                    <a:pt x="140" y="1603"/>
                  </a:lnTo>
                  <a:lnTo>
                    <a:pt x="91" y="1506"/>
                  </a:lnTo>
                  <a:lnTo>
                    <a:pt x="52" y="1404"/>
                  </a:lnTo>
                  <a:lnTo>
                    <a:pt x="24" y="1299"/>
                  </a:lnTo>
                  <a:lnTo>
                    <a:pt x="7" y="1188"/>
                  </a:lnTo>
                  <a:lnTo>
                    <a:pt x="0" y="1074"/>
                  </a:lnTo>
                  <a:lnTo>
                    <a:pt x="7" y="961"/>
                  </a:lnTo>
                  <a:lnTo>
                    <a:pt x="24" y="852"/>
                  </a:lnTo>
                  <a:lnTo>
                    <a:pt x="52" y="745"/>
                  </a:lnTo>
                  <a:lnTo>
                    <a:pt x="91" y="643"/>
                  </a:lnTo>
                  <a:lnTo>
                    <a:pt x="140" y="548"/>
                  </a:lnTo>
                  <a:lnTo>
                    <a:pt x="202" y="450"/>
                  </a:lnTo>
                  <a:lnTo>
                    <a:pt x="274" y="360"/>
                  </a:lnTo>
                  <a:lnTo>
                    <a:pt x="356" y="278"/>
                  </a:lnTo>
                  <a:lnTo>
                    <a:pt x="444" y="204"/>
                  </a:lnTo>
                  <a:lnTo>
                    <a:pt x="541" y="141"/>
                  </a:lnTo>
                  <a:lnTo>
                    <a:pt x="639" y="93"/>
                  </a:lnTo>
                  <a:lnTo>
                    <a:pt x="741" y="53"/>
                  </a:lnTo>
                  <a:lnTo>
                    <a:pt x="850" y="25"/>
                  </a:lnTo>
                  <a:lnTo>
                    <a:pt x="959" y="7"/>
                  </a:lnTo>
                  <a:lnTo>
                    <a:pt x="107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57FFD638-4637-48B6-242F-363927189750}"/>
                </a:ext>
              </a:extLst>
            </p:cNvPr>
            <p:cNvGrpSpPr/>
            <p:nvPr/>
          </p:nvGrpSpPr>
          <p:grpSpPr>
            <a:xfrm>
              <a:off x="4387458" y="1716091"/>
              <a:ext cx="3413910" cy="3417855"/>
              <a:chOff x="4387458" y="1722047"/>
              <a:chExt cx="3413910" cy="3413908"/>
            </a:xfrm>
            <a:effectLst>
              <a:outerShdw blurRad="292100" sx="108000" sy="108000" algn="ctr" rotWithShape="0">
                <a:prstClr val="black">
                  <a:alpha val="40000"/>
                </a:prstClr>
              </a:outerShdw>
            </a:effectLst>
          </p:grpSpPr>
          <p:sp>
            <p:nvSpPr>
              <p:cNvPr id="6" name="Freeform 64">
                <a:extLst>
                  <a:ext uri="{FF2B5EF4-FFF2-40B4-BE49-F238E27FC236}">
                    <a16:creationId xmlns:a16="http://schemas.microsoft.com/office/drawing/2014/main" id="{15C14573-4E20-9682-60A3-741786CF2A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4937" y="1722047"/>
                <a:ext cx="859497" cy="842747"/>
              </a:xfrm>
              <a:custGeom>
                <a:avLst/>
                <a:gdLst>
                  <a:gd name="T0" fmla="*/ 0 w 1642"/>
                  <a:gd name="T1" fmla="*/ 0 h 1610"/>
                  <a:gd name="T2" fmla="*/ 198 w 1642"/>
                  <a:gd name="T3" fmla="*/ 6 h 1610"/>
                  <a:gd name="T4" fmla="*/ 392 w 1642"/>
                  <a:gd name="T5" fmla="*/ 22 h 1610"/>
                  <a:gd name="T6" fmla="*/ 584 w 1642"/>
                  <a:gd name="T7" fmla="*/ 51 h 1610"/>
                  <a:gd name="T8" fmla="*/ 772 w 1642"/>
                  <a:gd name="T9" fmla="*/ 91 h 1610"/>
                  <a:gd name="T10" fmla="*/ 955 w 1642"/>
                  <a:gd name="T11" fmla="*/ 142 h 1610"/>
                  <a:gd name="T12" fmla="*/ 1134 w 1642"/>
                  <a:gd name="T13" fmla="*/ 202 h 1610"/>
                  <a:gd name="T14" fmla="*/ 1310 w 1642"/>
                  <a:gd name="T15" fmla="*/ 273 h 1610"/>
                  <a:gd name="T16" fmla="*/ 1478 w 1642"/>
                  <a:gd name="T17" fmla="*/ 352 h 1610"/>
                  <a:gd name="T18" fmla="*/ 1642 w 1642"/>
                  <a:gd name="T19" fmla="*/ 441 h 1610"/>
                  <a:gd name="T20" fmla="*/ 961 w 1642"/>
                  <a:gd name="T21" fmla="*/ 1610 h 1610"/>
                  <a:gd name="T22" fmla="*/ 837 w 1642"/>
                  <a:gd name="T23" fmla="*/ 1543 h 1610"/>
                  <a:gd name="T24" fmla="*/ 708 w 1642"/>
                  <a:gd name="T25" fmla="*/ 1486 h 1610"/>
                  <a:gd name="T26" fmla="*/ 574 w 1642"/>
                  <a:gd name="T27" fmla="*/ 1438 h 1610"/>
                  <a:gd name="T28" fmla="*/ 437 w 1642"/>
                  <a:gd name="T29" fmla="*/ 1400 h 1610"/>
                  <a:gd name="T30" fmla="*/ 295 w 1642"/>
                  <a:gd name="T31" fmla="*/ 1373 h 1610"/>
                  <a:gd name="T32" fmla="*/ 148 w 1642"/>
                  <a:gd name="T33" fmla="*/ 1355 h 1610"/>
                  <a:gd name="T34" fmla="*/ 0 w 1642"/>
                  <a:gd name="T35" fmla="*/ 1349 h 1610"/>
                  <a:gd name="T36" fmla="*/ 0 w 1642"/>
                  <a:gd name="T37" fmla="*/ 0 h 1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642" h="1610">
                    <a:moveTo>
                      <a:pt x="0" y="0"/>
                    </a:moveTo>
                    <a:lnTo>
                      <a:pt x="198" y="6"/>
                    </a:lnTo>
                    <a:lnTo>
                      <a:pt x="392" y="22"/>
                    </a:lnTo>
                    <a:lnTo>
                      <a:pt x="584" y="51"/>
                    </a:lnTo>
                    <a:lnTo>
                      <a:pt x="772" y="91"/>
                    </a:lnTo>
                    <a:lnTo>
                      <a:pt x="955" y="142"/>
                    </a:lnTo>
                    <a:lnTo>
                      <a:pt x="1134" y="202"/>
                    </a:lnTo>
                    <a:lnTo>
                      <a:pt x="1310" y="273"/>
                    </a:lnTo>
                    <a:lnTo>
                      <a:pt x="1478" y="352"/>
                    </a:lnTo>
                    <a:lnTo>
                      <a:pt x="1642" y="441"/>
                    </a:lnTo>
                    <a:lnTo>
                      <a:pt x="961" y="1610"/>
                    </a:lnTo>
                    <a:lnTo>
                      <a:pt x="837" y="1543"/>
                    </a:lnTo>
                    <a:lnTo>
                      <a:pt x="708" y="1486"/>
                    </a:lnTo>
                    <a:lnTo>
                      <a:pt x="574" y="1438"/>
                    </a:lnTo>
                    <a:lnTo>
                      <a:pt x="437" y="1400"/>
                    </a:lnTo>
                    <a:lnTo>
                      <a:pt x="295" y="1373"/>
                    </a:lnTo>
                    <a:lnTo>
                      <a:pt x="148" y="1355"/>
                    </a:lnTo>
                    <a:lnTo>
                      <a:pt x="0" y="1349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86000">
                    <a:schemeClr val="bg1">
                      <a:lumMod val="85000"/>
                    </a:schemeClr>
                  </a:gs>
                  <a:gs pos="20000">
                    <a:schemeClr val="bg1">
                      <a:lumMod val="95000"/>
                    </a:schemeClr>
                  </a:gs>
                </a:gsLst>
                <a:lin ang="10800000" scaled="1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" name="Freeform 65">
                <a:extLst>
                  <a:ext uri="{FF2B5EF4-FFF2-40B4-BE49-F238E27FC236}">
                    <a16:creationId xmlns:a16="http://schemas.microsoft.com/office/drawing/2014/main" id="{1BB469A0-A199-C3A5-7F77-86FDEBC104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7458" y="2589918"/>
                <a:ext cx="836466" cy="838559"/>
              </a:xfrm>
              <a:custGeom>
                <a:avLst/>
                <a:gdLst>
                  <a:gd name="T0" fmla="*/ 421 w 1598"/>
                  <a:gd name="T1" fmla="*/ 0 h 1602"/>
                  <a:gd name="T2" fmla="*/ 1598 w 1598"/>
                  <a:gd name="T3" fmla="*/ 662 h 1602"/>
                  <a:gd name="T4" fmla="*/ 1535 w 1598"/>
                  <a:gd name="T5" fmla="*/ 785 h 1602"/>
                  <a:gd name="T6" fmla="*/ 1480 w 1598"/>
                  <a:gd name="T7" fmla="*/ 912 h 1602"/>
                  <a:gd name="T8" fmla="*/ 1434 w 1598"/>
                  <a:gd name="T9" fmla="*/ 1042 h 1602"/>
                  <a:gd name="T10" fmla="*/ 1399 w 1598"/>
                  <a:gd name="T11" fmla="*/ 1177 h 1602"/>
                  <a:gd name="T12" fmla="*/ 1373 w 1598"/>
                  <a:gd name="T13" fmla="*/ 1315 h 1602"/>
                  <a:gd name="T14" fmla="*/ 1355 w 1598"/>
                  <a:gd name="T15" fmla="*/ 1458 h 1602"/>
                  <a:gd name="T16" fmla="*/ 1351 w 1598"/>
                  <a:gd name="T17" fmla="*/ 1602 h 1602"/>
                  <a:gd name="T18" fmla="*/ 0 w 1598"/>
                  <a:gd name="T19" fmla="*/ 1602 h 1602"/>
                  <a:gd name="T20" fmla="*/ 6 w 1598"/>
                  <a:gd name="T21" fmla="*/ 1410 h 1602"/>
                  <a:gd name="T22" fmla="*/ 22 w 1598"/>
                  <a:gd name="T23" fmla="*/ 1220 h 1602"/>
                  <a:gd name="T24" fmla="*/ 49 w 1598"/>
                  <a:gd name="T25" fmla="*/ 1032 h 1602"/>
                  <a:gd name="T26" fmla="*/ 87 w 1598"/>
                  <a:gd name="T27" fmla="*/ 850 h 1602"/>
                  <a:gd name="T28" fmla="*/ 135 w 1598"/>
                  <a:gd name="T29" fmla="*/ 670 h 1602"/>
                  <a:gd name="T30" fmla="*/ 192 w 1598"/>
                  <a:gd name="T31" fmla="*/ 496 h 1602"/>
                  <a:gd name="T32" fmla="*/ 259 w 1598"/>
                  <a:gd name="T33" fmla="*/ 326 h 1602"/>
                  <a:gd name="T34" fmla="*/ 336 w 1598"/>
                  <a:gd name="T35" fmla="*/ 160 h 1602"/>
                  <a:gd name="T36" fmla="*/ 421 w 1598"/>
                  <a:gd name="T37" fmla="*/ 0 h 16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98" h="1602">
                    <a:moveTo>
                      <a:pt x="421" y="0"/>
                    </a:moveTo>
                    <a:lnTo>
                      <a:pt x="1598" y="662"/>
                    </a:lnTo>
                    <a:lnTo>
                      <a:pt x="1535" y="785"/>
                    </a:lnTo>
                    <a:lnTo>
                      <a:pt x="1480" y="912"/>
                    </a:lnTo>
                    <a:lnTo>
                      <a:pt x="1434" y="1042"/>
                    </a:lnTo>
                    <a:lnTo>
                      <a:pt x="1399" y="1177"/>
                    </a:lnTo>
                    <a:lnTo>
                      <a:pt x="1373" y="1315"/>
                    </a:lnTo>
                    <a:lnTo>
                      <a:pt x="1355" y="1458"/>
                    </a:lnTo>
                    <a:lnTo>
                      <a:pt x="1351" y="1602"/>
                    </a:lnTo>
                    <a:lnTo>
                      <a:pt x="0" y="1602"/>
                    </a:lnTo>
                    <a:lnTo>
                      <a:pt x="6" y="1410"/>
                    </a:lnTo>
                    <a:lnTo>
                      <a:pt x="22" y="1220"/>
                    </a:lnTo>
                    <a:lnTo>
                      <a:pt x="49" y="1032"/>
                    </a:lnTo>
                    <a:lnTo>
                      <a:pt x="87" y="850"/>
                    </a:lnTo>
                    <a:lnTo>
                      <a:pt x="135" y="670"/>
                    </a:lnTo>
                    <a:lnTo>
                      <a:pt x="192" y="496"/>
                    </a:lnTo>
                    <a:lnTo>
                      <a:pt x="259" y="326"/>
                    </a:lnTo>
                    <a:lnTo>
                      <a:pt x="336" y="160"/>
                    </a:lnTo>
                    <a:lnTo>
                      <a:pt x="421" y="0"/>
                    </a:lnTo>
                    <a:close/>
                  </a:path>
                </a:pathLst>
              </a:custGeom>
              <a:gradFill>
                <a:gsLst>
                  <a:gs pos="100000">
                    <a:schemeClr val="bg1">
                      <a:lumMod val="85000"/>
                    </a:schemeClr>
                  </a:gs>
                  <a:gs pos="60000">
                    <a:schemeClr val="bg1">
                      <a:lumMod val="95000"/>
                    </a:schemeClr>
                  </a:gs>
                </a:gsLst>
                <a:lin ang="5400000" scaled="1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" name="Freeform 66">
                <a:extLst>
                  <a:ext uri="{FF2B5EF4-FFF2-40B4-BE49-F238E27FC236}">
                    <a16:creationId xmlns:a16="http://schemas.microsoft.com/office/drawing/2014/main" id="{38C60E54-8C88-2214-523D-38040652D0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8352" y="1947128"/>
                <a:ext cx="989312" cy="989311"/>
              </a:xfrm>
              <a:custGeom>
                <a:avLst/>
                <a:gdLst>
                  <a:gd name="T0" fmla="*/ 1223 w 1891"/>
                  <a:gd name="T1" fmla="*/ 0 h 1891"/>
                  <a:gd name="T2" fmla="*/ 1891 w 1891"/>
                  <a:gd name="T3" fmla="*/ 1173 h 1891"/>
                  <a:gd name="T4" fmla="*/ 1767 w 1891"/>
                  <a:gd name="T5" fmla="*/ 1250 h 1891"/>
                  <a:gd name="T6" fmla="*/ 1650 w 1891"/>
                  <a:gd name="T7" fmla="*/ 1337 h 1891"/>
                  <a:gd name="T8" fmla="*/ 1539 w 1891"/>
                  <a:gd name="T9" fmla="*/ 1432 h 1891"/>
                  <a:gd name="T10" fmla="*/ 1435 w 1891"/>
                  <a:gd name="T11" fmla="*/ 1537 h 1891"/>
                  <a:gd name="T12" fmla="*/ 1340 w 1891"/>
                  <a:gd name="T13" fmla="*/ 1648 h 1891"/>
                  <a:gd name="T14" fmla="*/ 1255 w 1891"/>
                  <a:gd name="T15" fmla="*/ 1767 h 1891"/>
                  <a:gd name="T16" fmla="*/ 1177 w 1891"/>
                  <a:gd name="T17" fmla="*/ 1891 h 1891"/>
                  <a:gd name="T18" fmla="*/ 0 w 1891"/>
                  <a:gd name="T19" fmla="*/ 1229 h 1891"/>
                  <a:gd name="T20" fmla="*/ 91 w 1891"/>
                  <a:gd name="T21" fmla="*/ 1076 h 1891"/>
                  <a:gd name="T22" fmla="*/ 188 w 1891"/>
                  <a:gd name="T23" fmla="*/ 932 h 1891"/>
                  <a:gd name="T24" fmla="*/ 295 w 1891"/>
                  <a:gd name="T25" fmla="*/ 791 h 1891"/>
                  <a:gd name="T26" fmla="*/ 408 w 1891"/>
                  <a:gd name="T27" fmla="*/ 659 h 1891"/>
                  <a:gd name="T28" fmla="*/ 529 w 1891"/>
                  <a:gd name="T29" fmla="*/ 532 h 1891"/>
                  <a:gd name="T30" fmla="*/ 655 w 1891"/>
                  <a:gd name="T31" fmla="*/ 412 h 1891"/>
                  <a:gd name="T32" fmla="*/ 788 w 1891"/>
                  <a:gd name="T33" fmla="*/ 297 h 1891"/>
                  <a:gd name="T34" fmla="*/ 926 w 1891"/>
                  <a:gd name="T35" fmla="*/ 190 h 1891"/>
                  <a:gd name="T36" fmla="*/ 1073 w 1891"/>
                  <a:gd name="T37" fmla="*/ 91 h 1891"/>
                  <a:gd name="T38" fmla="*/ 1223 w 1891"/>
                  <a:gd name="T39" fmla="*/ 0 h 18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891" h="1891">
                    <a:moveTo>
                      <a:pt x="1223" y="0"/>
                    </a:moveTo>
                    <a:lnTo>
                      <a:pt x="1891" y="1173"/>
                    </a:lnTo>
                    <a:lnTo>
                      <a:pt x="1767" y="1250"/>
                    </a:lnTo>
                    <a:lnTo>
                      <a:pt x="1650" y="1337"/>
                    </a:lnTo>
                    <a:lnTo>
                      <a:pt x="1539" y="1432"/>
                    </a:lnTo>
                    <a:lnTo>
                      <a:pt x="1435" y="1537"/>
                    </a:lnTo>
                    <a:lnTo>
                      <a:pt x="1340" y="1648"/>
                    </a:lnTo>
                    <a:lnTo>
                      <a:pt x="1255" y="1767"/>
                    </a:lnTo>
                    <a:lnTo>
                      <a:pt x="1177" y="1891"/>
                    </a:lnTo>
                    <a:lnTo>
                      <a:pt x="0" y="1229"/>
                    </a:lnTo>
                    <a:lnTo>
                      <a:pt x="91" y="1076"/>
                    </a:lnTo>
                    <a:lnTo>
                      <a:pt x="188" y="932"/>
                    </a:lnTo>
                    <a:lnTo>
                      <a:pt x="295" y="791"/>
                    </a:lnTo>
                    <a:lnTo>
                      <a:pt x="408" y="659"/>
                    </a:lnTo>
                    <a:lnTo>
                      <a:pt x="529" y="532"/>
                    </a:lnTo>
                    <a:lnTo>
                      <a:pt x="655" y="412"/>
                    </a:lnTo>
                    <a:lnTo>
                      <a:pt x="788" y="297"/>
                    </a:lnTo>
                    <a:lnTo>
                      <a:pt x="926" y="190"/>
                    </a:lnTo>
                    <a:lnTo>
                      <a:pt x="1073" y="91"/>
                    </a:lnTo>
                    <a:lnTo>
                      <a:pt x="1223" y="0"/>
                    </a:lnTo>
                    <a:close/>
                  </a:path>
                </a:pathLst>
              </a:custGeom>
              <a:gradFill>
                <a:gsLst>
                  <a:gs pos="86000">
                    <a:schemeClr val="bg1">
                      <a:lumMod val="85000"/>
                    </a:schemeClr>
                  </a:gs>
                  <a:gs pos="17000">
                    <a:schemeClr val="bg1">
                      <a:lumMod val="95000"/>
                    </a:schemeClr>
                  </a:gs>
                </a:gsLst>
                <a:lin ang="10800000" scaled="1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" name="Freeform 67">
                <a:extLst>
                  <a:ext uri="{FF2B5EF4-FFF2-40B4-BE49-F238E27FC236}">
                    <a16:creationId xmlns:a16="http://schemas.microsoft.com/office/drawing/2014/main" id="{2EFFA85B-2674-9CF7-CF63-60D69597F2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7458" y="3428477"/>
                <a:ext cx="836466" cy="839606"/>
              </a:xfrm>
              <a:custGeom>
                <a:avLst/>
                <a:gdLst>
                  <a:gd name="T0" fmla="*/ 0 w 1598"/>
                  <a:gd name="T1" fmla="*/ 0 h 1604"/>
                  <a:gd name="T2" fmla="*/ 1351 w 1598"/>
                  <a:gd name="T3" fmla="*/ 0 h 1604"/>
                  <a:gd name="T4" fmla="*/ 1355 w 1598"/>
                  <a:gd name="T5" fmla="*/ 146 h 1604"/>
                  <a:gd name="T6" fmla="*/ 1373 w 1598"/>
                  <a:gd name="T7" fmla="*/ 289 h 1604"/>
                  <a:gd name="T8" fmla="*/ 1399 w 1598"/>
                  <a:gd name="T9" fmla="*/ 427 h 1604"/>
                  <a:gd name="T10" fmla="*/ 1434 w 1598"/>
                  <a:gd name="T11" fmla="*/ 562 h 1604"/>
                  <a:gd name="T12" fmla="*/ 1480 w 1598"/>
                  <a:gd name="T13" fmla="*/ 692 h 1604"/>
                  <a:gd name="T14" fmla="*/ 1535 w 1598"/>
                  <a:gd name="T15" fmla="*/ 819 h 1604"/>
                  <a:gd name="T16" fmla="*/ 1598 w 1598"/>
                  <a:gd name="T17" fmla="*/ 940 h 1604"/>
                  <a:gd name="T18" fmla="*/ 421 w 1598"/>
                  <a:gd name="T19" fmla="*/ 1604 h 1604"/>
                  <a:gd name="T20" fmla="*/ 336 w 1598"/>
                  <a:gd name="T21" fmla="*/ 1444 h 1604"/>
                  <a:gd name="T22" fmla="*/ 261 w 1598"/>
                  <a:gd name="T23" fmla="*/ 1280 h 1604"/>
                  <a:gd name="T24" fmla="*/ 194 w 1598"/>
                  <a:gd name="T25" fmla="*/ 1108 h 1604"/>
                  <a:gd name="T26" fmla="*/ 135 w 1598"/>
                  <a:gd name="T27" fmla="*/ 934 h 1604"/>
                  <a:gd name="T28" fmla="*/ 87 w 1598"/>
                  <a:gd name="T29" fmla="*/ 754 h 1604"/>
                  <a:gd name="T30" fmla="*/ 49 w 1598"/>
                  <a:gd name="T31" fmla="*/ 570 h 1604"/>
                  <a:gd name="T32" fmla="*/ 22 w 1598"/>
                  <a:gd name="T33" fmla="*/ 384 h 1604"/>
                  <a:gd name="T34" fmla="*/ 6 w 1598"/>
                  <a:gd name="T35" fmla="*/ 194 h 1604"/>
                  <a:gd name="T36" fmla="*/ 0 w 1598"/>
                  <a:gd name="T37" fmla="*/ 0 h 1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98" h="1604">
                    <a:moveTo>
                      <a:pt x="0" y="0"/>
                    </a:moveTo>
                    <a:lnTo>
                      <a:pt x="1351" y="0"/>
                    </a:lnTo>
                    <a:lnTo>
                      <a:pt x="1355" y="146"/>
                    </a:lnTo>
                    <a:lnTo>
                      <a:pt x="1373" y="289"/>
                    </a:lnTo>
                    <a:lnTo>
                      <a:pt x="1399" y="427"/>
                    </a:lnTo>
                    <a:lnTo>
                      <a:pt x="1434" y="562"/>
                    </a:lnTo>
                    <a:lnTo>
                      <a:pt x="1480" y="692"/>
                    </a:lnTo>
                    <a:lnTo>
                      <a:pt x="1535" y="819"/>
                    </a:lnTo>
                    <a:lnTo>
                      <a:pt x="1598" y="940"/>
                    </a:lnTo>
                    <a:lnTo>
                      <a:pt x="421" y="1604"/>
                    </a:lnTo>
                    <a:lnTo>
                      <a:pt x="336" y="1444"/>
                    </a:lnTo>
                    <a:lnTo>
                      <a:pt x="261" y="1280"/>
                    </a:lnTo>
                    <a:lnTo>
                      <a:pt x="194" y="1108"/>
                    </a:lnTo>
                    <a:lnTo>
                      <a:pt x="135" y="934"/>
                    </a:lnTo>
                    <a:lnTo>
                      <a:pt x="87" y="754"/>
                    </a:lnTo>
                    <a:lnTo>
                      <a:pt x="49" y="570"/>
                    </a:lnTo>
                    <a:lnTo>
                      <a:pt x="22" y="384"/>
                    </a:lnTo>
                    <a:lnTo>
                      <a:pt x="6" y="194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49000">
                    <a:schemeClr val="bg1">
                      <a:lumMod val="85000"/>
                    </a:schemeClr>
                  </a:gs>
                  <a:gs pos="29000">
                    <a:schemeClr val="bg1">
                      <a:lumMod val="95000"/>
                    </a:schemeClr>
                  </a:gs>
                </a:gsLst>
                <a:lin ang="3960000" scaled="0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" name="Freeform 68">
                <a:extLst>
                  <a:ext uri="{FF2B5EF4-FFF2-40B4-BE49-F238E27FC236}">
                    <a16:creationId xmlns:a16="http://schemas.microsoft.com/office/drawing/2014/main" id="{CD6C2E99-78C4-D26C-DACB-79E66CAAFA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48002" y="1722047"/>
                <a:ext cx="846935" cy="838559"/>
              </a:xfrm>
              <a:custGeom>
                <a:avLst/>
                <a:gdLst>
                  <a:gd name="T0" fmla="*/ 1618 w 1618"/>
                  <a:gd name="T1" fmla="*/ 0 h 1602"/>
                  <a:gd name="T2" fmla="*/ 1618 w 1618"/>
                  <a:gd name="T3" fmla="*/ 0 h 1602"/>
                  <a:gd name="T4" fmla="*/ 1618 w 1618"/>
                  <a:gd name="T5" fmla="*/ 1349 h 1602"/>
                  <a:gd name="T6" fmla="*/ 1618 w 1618"/>
                  <a:gd name="T7" fmla="*/ 1349 h 1602"/>
                  <a:gd name="T8" fmla="*/ 1472 w 1618"/>
                  <a:gd name="T9" fmla="*/ 1355 h 1602"/>
                  <a:gd name="T10" fmla="*/ 1327 w 1618"/>
                  <a:gd name="T11" fmla="*/ 1371 h 1602"/>
                  <a:gd name="T12" fmla="*/ 1187 w 1618"/>
                  <a:gd name="T13" fmla="*/ 1399 h 1602"/>
                  <a:gd name="T14" fmla="*/ 1050 w 1618"/>
                  <a:gd name="T15" fmla="*/ 1436 h 1602"/>
                  <a:gd name="T16" fmla="*/ 920 w 1618"/>
                  <a:gd name="T17" fmla="*/ 1482 h 1602"/>
                  <a:gd name="T18" fmla="*/ 791 w 1618"/>
                  <a:gd name="T19" fmla="*/ 1537 h 1602"/>
                  <a:gd name="T20" fmla="*/ 668 w 1618"/>
                  <a:gd name="T21" fmla="*/ 1602 h 1602"/>
                  <a:gd name="T22" fmla="*/ 0 w 1618"/>
                  <a:gd name="T23" fmla="*/ 429 h 1602"/>
                  <a:gd name="T24" fmla="*/ 160 w 1618"/>
                  <a:gd name="T25" fmla="*/ 342 h 1602"/>
                  <a:gd name="T26" fmla="*/ 328 w 1618"/>
                  <a:gd name="T27" fmla="*/ 265 h 1602"/>
                  <a:gd name="T28" fmla="*/ 500 w 1618"/>
                  <a:gd name="T29" fmla="*/ 196 h 1602"/>
                  <a:gd name="T30" fmla="*/ 676 w 1618"/>
                  <a:gd name="T31" fmla="*/ 136 h 1602"/>
                  <a:gd name="T32" fmla="*/ 856 w 1618"/>
                  <a:gd name="T33" fmla="*/ 89 h 1602"/>
                  <a:gd name="T34" fmla="*/ 1042 w 1618"/>
                  <a:gd name="T35" fmla="*/ 49 h 1602"/>
                  <a:gd name="T36" fmla="*/ 1230 w 1618"/>
                  <a:gd name="T37" fmla="*/ 22 h 1602"/>
                  <a:gd name="T38" fmla="*/ 1422 w 1618"/>
                  <a:gd name="T39" fmla="*/ 4 h 1602"/>
                  <a:gd name="T40" fmla="*/ 1618 w 1618"/>
                  <a:gd name="T41" fmla="*/ 0 h 16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18" h="1602">
                    <a:moveTo>
                      <a:pt x="1618" y="0"/>
                    </a:moveTo>
                    <a:lnTo>
                      <a:pt x="1618" y="0"/>
                    </a:lnTo>
                    <a:lnTo>
                      <a:pt x="1618" y="1349"/>
                    </a:lnTo>
                    <a:lnTo>
                      <a:pt x="1618" y="1349"/>
                    </a:lnTo>
                    <a:lnTo>
                      <a:pt x="1472" y="1355"/>
                    </a:lnTo>
                    <a:lnTo>
                      <a:pt x="1327" y="1371"/>
                    </a:lnTo>
                    <a:lnTo>
                      <a:pt x="1187" y="1399"/>
                    </a:lnTo>
                    <a:lnTo>
                      <a:pt x="1050" y="1436"/>
                    </a:lnTo>
                    <a:lnTo>
                      <a:pt x="920" y="1482"/>
                    </a:lnTo>
                    <a:lnTo>
                      <a:pt x="791" y="1537"/>
                    </a:lnTo>
                    <a:lnTo>
                      <a:pt x="668" y="1602"/>
                    </a:lnTo>
                    <a:lnTo>
                      <a:pt x="0" y="429"/>
                    </a:lnTo>
                    <a:lnTo>
                      <a:pt x="160" y="342"/>
                    </a:lnTo>
                    <a:lnTo>
                      <a:pt x="328" y="265"/>
                    </a:lnTo>
                    <a:lnTo>
                      <a:pt x="500" y="196"/>
                    </a:lnTo>
                    <a:lnTo>
                      <a:pt x="676" y="136"/>
                    </a:lnTo>
                    <a:lnTo>
                      <a:pt x="856" y="89"/>
                    </a:lnTo>
                    <a:lnTo>
                      <a:pt x="1042" y="49"/>
                    </a:lnTo>
                    <a:lnTo>
                      <a:pt x="1230" y="22"/>
                    </a:lnTo>
                    <a:lnTo>
                      <a:pt x="1422" y="4"/>
                    </a:lnTo>
                    <a:lnTo>
                      <a:pt x="1618" y="0"/>
                    </a:lnTo>
                    <a:close/>
                  </a:path>
                </a:pathLst>
              </a:custGeom>
              <a:gradFill>
                <a:gsLst>
                  <a:gs pos="86000">
                    <a:schemeClr val="bg1">
                      <a:lumMod val="85000"/>
                    </a:schemeClr>
                  </a:gs>
                  <a:gs pos="17000">
                    <a:schemeClr val="bg1">
                      <a:lumMod val="95000"/>
                    </a:schemeClr>
                  </a:gs>
                </a:gsLst>
                <a:lin ang="10800000" scaled="1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" name="Freeform 69">
                <a:extLst>
                  <a:ext uri="{FF2B5EF4-FFF2-40B4-BE49-F238E27FC236}">
                    <a16:creationId xmlns:a16="http://schemas.microsoft.com/office/drawing/2014/main" id="{B7A9DBDE-F213-B5D7-498E-6116712C49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65949" y="2588872"/>
                <a:ext cx="835419" cy="839606"/>
              </a:xfrm>
              <a:custGeom>
                <a:avLst/>
                <a:gdLst>
                  <a:gd name="T0" fmla="*/ 1175 w 1596"/>
                  <a:gd name="T1" fmla="*/ 0 h 1604"/>
                  <a:gd name="T2" fmla="*/ 1260 w 1596"/>
                  <a:gd name="T3" fmla="*/ 160 h 1604"/>
                  <a:gd name="T4" fmla="*/ 1337 w 1596"/>
                  <a:gd name="T5" fmla="*/ 326 h 1604"/>
                  <a:gd name="T6" fmla="*/ 1404 w 1596"/>
                  <a:gd name="T7" fmla="*/ 496 h 1604"/>
                  <a:gd name="T8" fmla="*/ 1462 w 1596"/>
                  <a:gd name="T9" fmla="*/ 672 h 1604"/>
                  <a:gd name="T10" fmla="*/ 1509 w 1596"/>
                  <a:gd name="T11" fmla="*/ 850 h 1604"/>
                  <a:gd name="T12" fmla="*/ 1547 w 1596"/>
                  <a:gd name="T13" fmla="*/ 1034 h 1604"/>
                  <a:gd name="T14" fmla="*/ 1574 w 1596"/>
                  <a:gd name="T15" fmla="*/ 1222 h 1604"/>
                  <a:gd name="T16" fmla="*/ 1592 w 1596"/>
                  <a:gd name="T17" fmla="*/ 1412 h 1604"/>
                  <a:gd name="T18" fmla="*/ 1596 w 1596"/>
                  <a:gd name="T19" fmla="*/ 1604 h 1604"/>
                  <a:gd name="T20" fmla="*/ 247 w 1596"/>
                  <a:gd name="T21" fmla="*/ 1604 h 1604"/>
                  <a:gd name="T22" fmla="*/ 241 w 1596"/>
                  <a:gd name="T23" fmla="*/ 1460 h 1604"/>
                  <a:gd name="T24" fmla="*/ 225 w 1596"/>
                  <a:gd name="T25" fmla="*/ 1317 h 1604"/>
                  <a:gd name="T26" fmla="*/ 199 w 1596"/>
                  <a:gd name="T27" fmla="*/ 1179 h 1604"/>
                  <a:gd name="T28" fmla="*/ 162 w 1596"/>
                  <a:gd name="T29" fmla="*/ 1044 h 1604"/>
                  <a:gd name="T30" fmla="*/ 116 w 1596"/>
                  <a:gd name="T31" fmla="*/ 912 h 1604"/>
                  <a:gd name="T32" fmla="*/ 63 w 1596"/>
                  <a:gd name="T33" fmla="*/ 785 h 1604"/>
                  <a:gd name="T34" fmla="*/ 0 w 1596"/>
                  <a:gd name="T35" fmla="*/ 664 h 1604"/>
                  <a:gd name="T36" fmla="*/ 1175 w 1596"/>
                  <a:gd name="T37" fmla="*/ 0 h 1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96" h="1604">
                    <a:moveTo>
                      <a:pt x="1175" y="0"/>
                    </a:moveTo>
                    <a:lnTo>
                      <a:pt x="1260" y="160"/>
                    </a:lnTo>
                    <a:lnTo>
                      <a:pt x="1337" y="326"/>
                    </a:lnTo>
                    <a:lnTo>
                      <a:pt x="1404" y="496"/>
                    </a:lnTo>
                    <a:lnTo>
                      <a:pt x="1462" y="672"/>
                    </a:lnTo>
                    <a:lnTo>
                      <a:pt x="1509" y="850"/>
                    </a:lnTo>
                    <a:lnTo>
                      <a:pt x="1547" y="1034"/>
                    </a:lnTo>
                    <a:lnTo>
                      <a:pt x="1574" y="1222"/>
                    </a:lnTo>
                    <a:lnTo>
                      <a:pt x="1592" y="1412"/>
                    </a:lnTo>
                    <a:lnTo>
                      <a:pt x="1596" y="1604"/>
                    </a:lnTo>
                    <a:lnTo>
                      <a:pt x="247" y="1604"/>
                    </a:lnTo>
                    <a:lnTo>
                      <a:pt x="241" y="1460"/>
                    </a:lnTo>
                    <a:lnTo>
                      <a:pt x="225" y="1317"/>
                    </a:lnTo>
                    <a:lnTo>
                      <a:pt x="199" y="1179"/>
                    </a:lnTo>
                    <a:lnTo>
                      <a:pt x="162" y="1044"/>
                    </a:lnTo>
                    <a:lnTo>
                      <a:pt x="116" y="912"/>
                    </a:lnTo>
                    <a:lnTo>
                      <a:pt x="63" y="785"/>
                    </a:lnTo>
                    <a:lnTo>
                      <a:pt x="0" y="664"/>
                    </a:lnTo>
                    <a:lnTo>
                      <a:pt x="1175" y="0"/>
                    </a:lnTo>
                    <a:close/>
                  </a:path>
                </a:pathLst>
              </a:custGeom>
              <a:gradFill>
                <a:gsLst>
                  <a:gs pos="86000">
                    <a:schemeClr val="bg1">
                      <a:lumMod val="85000"/>
                    </a:schemeClr>
                  </a:gs>
                  <a:gs pos="17000">
                    <a:schemeClr val="bg1">
                      <a:lumMod val="95000"/>
                    </a:schemeClr>
                  </a:gs>
                </a:gsLst>
                <a:lin ang="15000000" scaled="0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" name="Freeform 70">
                <a:extLst>
                  <a:ext uri="{FF2B5EF4-FFF2-40B4-BE49-F238E27FC236}">
                    <a16:creationId xmlns:a16="http://schemas.microsoft.com/office/drawing/2014/main" id="{E121886B-6162-5CDE-516F-FB2ACF4865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98491" y="1953409"/>
                <a:ext cx="981983" cy="983030"/>
              </a:xfrm>
              <a:custGeom>
                <a:avLst/>
                <a:gdLst>
                  <a:gd name="T0" fmla="*/ 681 w 1878"/>
                  <a:gd name="T1" fmla="*/ 0 h 1879"/>
                  <a:gd name="T2" fmla="*/ 843 w 1878"/>
                  <a:gd name="T3" fmla="*/ 103 h 1879"/>
                  <a:gd name="T4" fmla="*/ 999 w 1878"/>
                  <a:gd name="T5" fmla="*/ 214 h 1879"/>
                  <a:gd name="T6" fmla="*/ 1150 w 1878"/>
                  <a:gd name="T7" fmla="*/ 332 h 1879"/>
                  <a:gd name="T8" fmla="*/ 1292 w 1878"/>
                  <a:gd name="T9" fmla="*/ 461 h 1879"/>
                  <a:gd name="T10" fmla="*/ 1427 w 1878"/>
                  <a:gd name="T11" fmla="*/ 597 h 1879"/>
                  <a:gd name="T12" fmla="*/ 1551 w 1878"/>
                  <a:gd name="T13" fmla="*/ 742 h 1879"/>
                  <a:gd name="T14" fmla="*/ 1670 w 1878"/>
                  <a:gd name="T15" fmla="*/ 892 h 1879"/>
                  <a:gd name="T16" fmla="*/ 1779 w 1878"/>
                  <a:gd name="T17" fmla="*/ 1050 h 1879"/>
                  <a:gd name="T18" fmla="*/ 1878 w 1878"/>
                  <a:gd name="T19" fmla="*/ 1215 h 1879"/>
                  <a:gd name="T20" fmla="*/ 703 w 1878"/>
                  <a:gd name="T21" fmla="*/ 1879 h 1879"/>
                  <a:gd name="T22" fmla="*/ 626 w 1878"/>
                  <a:gd name="T23" fmla="*/ 1757 h 1879"/>
                  <a:gd name="T24" fmla="*/ 540 w 1878"/>
                  <a:gd name="T25" fmla="*/ 1640 h 1879"/>
                  <a:gd name="T26" fmla="*/ 447 w 1878"/>
                  <a:gd name="T27" fmla="*/ 1529 h 1879"/>
                  <a:gd name="T28" fmla="*/ 347 w 1878"/>
                  <a:gd name="T29" fmla="*/ 1426 h 1879"/>
                  <a:gd name="T30" fmla="*/ 238 w 1878"/>
                  <a:gd name="T31" fmla="*/ 1333 h 1879"/>
                  <a:gd name="T32" fmla="*/ 123 w 1878"/>
                  <a:gd name="T33" fmla="*/ 1246 h 1879"/>
                  <a:gd name="T34" fmla="*/ 0 w 1878"/>
                  <a:gd name="T35" fmla="*/ 1169 h 1879"/>
                  <a:gd name="T36" fmla="*/ 681 w 1878"/>
                  <a:gd name="T37" fmla="*/ 0 h 18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878" h="1879">
                    <a:moveTo>
                      <a:pt x="681" y="0"/>
                    </a:moveTo>
                    <a:lnTo>
                      <a:pt x="843" y="103"/>
                    </a:lnTo>
                    <a:lnTo>
                      <a:pt x="999" y="214"/>
                    </a:lnTo>
                    <a:lnTo>
                      <a:pt x="1150" y="332"/>
                    </a:lnTo>
                    <a:lnTo>
                      <a:pt x="1292" y="461"/>
                    </a:lnTo>
                    <a:lnTo>
                      <a:pt x="1427" y="597"/>
                    </a:lnTo>
                    <a:lnTo>
                      <a:pt x="1551" y="742"/>
                    </a:lnTo>
                    <a:lnTo>
                      <a:pt x="1670" y="892"/>
                    </a:lnTo>
                    <a:lnTo>
                      <a:pt x="1779" y="1050"/>
                    </a:lnTo>
                    <a:lnTo>
                      <a:pt x="1878" y="1215"/>
                    </a:lnTo>
                    <a:lnTo>
                      <a:pt x="703" y="1879"/>
                    </a:lnTo>
                    <a:lnTo>
                      <a:pt x="626" y="1757"/>
                    </a:lnTo>
                    <a:lnTo>
                      <a:pt x="540" y="1640"/>
                    </a:lnTo>
                    <a:lnTo>
                      <a:pt x="447" y="1529"/>
                    </a:lnTo>
                    <a:lnTo>
                      <a:pt x="347" y="1426"/>
                    </a:lnTo>
                    <a:lnTo>
                      <a:pt x="238" y="1333"/>
                    </a:lnTo>
                    <a:lnTo>
                      <a:pt x="123" y="1246"/>
                    </a:lnTo>
                    <a:lnTo>
                      <a:pt x="0" y="1169"/>
                    </a:lnTo>
                    <a:lnTo>
                      <a:pt x="681" y="0"/>
                    </a:lnTo>
                    <a:close/>
                  </a:path>
                </a:pathLst>
              </a:custGeom>
              <a:gradFill>
                <a:gsLst>
                  <a:gs pos="86000">
                    <a:schemeClr val="bg1">
                      <a:lumMod val="85000"/>
                    </a:schemeClr>
                  </a:gs>
                  <a:gs pos="17000">
                    <a:schemeClr val="bg1">
                      <a:lumMod val="95000"/>
                    </a:schemeClr>
                  </a:gs>
                </a:gsLst>
                <a:lin ang="15000000" scaled="0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" name="Freeform 71">
                <a:extLst>
                  <a:ext uri="{FF2B5EF4-FFF2-40B4-BE49-F238E27FC236}">
                    <a16:creationId xmlns:a16="http://schemas.microsoft.com/office/drawing/2014/main" id="{C9A6AE2A-CA8A-188D-DD4E-30120C9676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8352" y="3920516"/>
                <a:ext cx="983030" cy="983030"/>
              </a:xfrm>
              <a:custGeom>
                <a:avLst/>
                <a:gdLst>
                  <a:gd name="T0" fmla="*/ 1177 w 1880"/>
                  <a:gd name="T1" fmla="*/ 0 h 1879"/>
                  <a:gd name="T2" fmla="*/ 1253 w 1880"/>
                  <a:gd name="T3" fmla="*/ 124 h 1879"/>
                  <a:gd name="T4" fmla="*/ 1338 w 1880"/>
                  <a:gd name="T5" fmla="*/ 241 h 1879"/>
                  <a:gd name="T6" fmla="*/ 1431 w 1880"/>
                  <a:gd name="T7" fmla="*/ 350 h 1879"/>
                  <a:gd name="T8" fmla="*/ 1531 w 1880"/>
                  <a:gd name="T9" fmla="*/ 453 h 1879"/>
                  <a:gd name="T10" fmla="*/ 1640 w 1880"/>
                  <a:gd name="T11" fmla="*/ 548 h 1879"/>
                  <a:gd name="T12" fmla="*/ 1757 w 1880"/>
                  <a:gd name="T13" fmla="*/ 635 h 1879"/>
                  <a:gd name="T14" fmla="*/ 1880 w 1880"/>
                  <a:gd name="T15" fmla="*/ 712 h 1879"/>
                  <a:gd name="T16" fmla="*/ 1199 w 1880"/>
                  <a:gd name="T17" fmla="*/ 1879 h 1879"/>
                  <a:gd name="T18" fmla="*/ 1035 w 1880"/>
                  <a:gd name="T19" fmla="*/ 1778 h 1879"/>
                  <a:gd name="T20" fmla="*/ 879 w 1880"/>
                  <a:gd name="T21" fmla="*/ 1667 h 1879"/>
                  <a:gd name="T22" fmla="*/ 730 w 1880"/>
                  <a:gd name="T23" fmla="*/ 1547 h 1879"/>
                  <a:gd name="T24" fmla="*/ 588 w 1880"/>
                  <a:gd name="T25" fmla="*/ 1418 h 1879"/>
                  <a:gd name="T26" fmla="*/ 453 w 1880"/>
                  <a:gd name="T27" fmla="*/ 1283 h 1879"/>
                  <a:gd name="T28" fmla="*/ 327 w 1880"/>
                  <a:gd name="T29" fmla="*/ 1139 h 1879"/>
                  <a:gd name="T30" fmla="*/ 210 w 1880"/>
                  <a:gd name="T31" fmla="*/ 987 h 1879"/>
                  <a:gd name="T32" fmla="*/ 101 w 1880"/>
                  <a:gd name="T33" fmla="*/ 830 h 1879"/>
                  <a:gd name="T34" fmla="*/ 0 w 1880"/>
                  <a:gd name="T35" fmla="*/ 664 h 1879"/>
                  <a:gd name="T36" fmla="*/ 1177 w 1880"/>
                  <a:gd name="T37" fmla="*/ 0 h 18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880" h="1879">
                    <a:moveTo>
                      <a:pt x="1177" y="0"/>
                    </a:moveTo>
                    <a:lnTo>
                      <a:pt x="1253" y="124"/>
                    </a:lnTo>
                    <a:lnTo>
                      <a:pt x="1338" y="241"/>
                    </a:lnTo>
                    <a:lnTo>
                      <a:pt x="1431" y="350"/>
                    </a:lnTo>
                    <a:lnTo>
                      <a:pt x="1531" y="453"/>
                    </a:lnTo>
                    <a:lnTo>
                      <a:pt x="1640" y="548"/>
                    </a:lnTo>
                    <a:lnTo>
                      <a:pt x="1757" y="635"/>
                    </a:lnTo>
                    <a:lnTo>
                      <a:pt x="1880" y="712"/>
                    </a:lnTo>
                    <a:lnTo>
                      <a:pt x="1199" y="1879"/>
                    </a:lnTo>
                    <a:lnTo>
                      <a:pt x="1035" y="1778"/>
                    </a:lnTo>
                    <a:lnTo>
                      <a:pt x="879" y="1667"/>
                    </a:lnTo>
                    <a:lnTo>
                      <a:pt x="730" y="1547"/>
                    </a:lnTo>
                    <a:lnTo>
                      <a:pt x="588" y="1418"/>
                    </a:lnTo>
                    <a:lnTo>
                      <a:pt x="453" y="1283"/>
                    </a:lnTo>
                    <a:lnTo>
                      <a:pt x="327" y="1139"/>
                    </a:lnTo>
                    <a:lnTo>
                      <a:pt x="210" y="987"/>
                    </a:lnTo>
                    <a:lnTo>
                      <a:pt x="101" y="830"/>
                    </a:lnTo>
                    <a:lnTo>
                      <a:pt x="0" y="664"/>
                    </a:lnTo>
                    <a:lnTo>
                      <a:pt x="1177" y="0"/>
                    </a:lnTo>
                    <a:close/>
                  </a:path>
                </a:pathLst>
              </a:custGeom>
              <a:gradFill>
                <a:gsLst>
                  <a:gs pos="69000">
                    <a:schemeClr val="bg1">
                      <a:lumMod val="85000"/>
                    </a:schemeClr>
                  </a:gs>
                  <a:gs pos="48000">
                    <a:schemeClr val="bg1">
                      <a:lumMod val="95000"/>
                    </a:schemeClr>
                  </a:gs>
                </a:gsLst>
                <a:lin ang="3000000" scaled="0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" name="Freeform 72">
                <a:extLst>
                  <a:ext uri="{FF2B5EF4-FFF2-40B4-BE49-F238E27FC236}">
                    <a16:creationId xmlns:a16="http://schemas.microsoft.com/office/drawing/2014/main" id="{8DAD8DBD-0411-1F28-F0A2-8D8D2839D4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91163" y="3920516"/>
                <a:ext cx="990358" cy="990358"/>
              </a:xfrm>
              <a:custGeom>
                <a:avLst/>
                <a:gdLst>
                  <a:gd name="T0" fmla="*/ 716 w 1893"/>
                  <a:gd name="T1" fmla="*/ 0 h 1893"/>
                  <a:gd name="T2" fmla="*/ 1893 w 1893"/>
                  <a:gd name="T3" fmla="*/ 664 h 1893"/>
                  <a:gd name="T4" fmla="*/ 1802 w 1893"/>
                  <a:gd name="T5" fmla="*/ 815 h 1893"/>
                  <a:gd name="T6" fmla="*/ 1703 w 1893"/>
                  <a:gd name="T7" fmla="*/ 961 h 1893"/>
                  <a:gd name="T8" fmla="*/ 1596 w 1893"/>
                  <a:gd name="T9" fmla="*/ 1099 h 1893"/>
                  <a:gd name="T10" fmla="*/ 1483 w 1893"/>
                  <a:gd name="T11" fmla="*/ 1234 h 1893"/>
                  <a:gd name="T12" fmla="*/ 1365 w 1893"/>
                  <a:gd name="T13" fmla="*/ 1361 h 1893"/>
                  <a:gd name="T14" fmla="*/ 1238 w 1893"/>
                  <a:gd name="T15" fmla="*/ 1481 h 1893"/>
                  <a:gd name="T16" fmla="*/ 1103 w 1893"/>
                  <a:gd name="T17" fmla="*/ 1596 h 1893"/>
                  <a:gd name="T18" fmla="*/ 965 w 1893"/>
                  <a:gd name="T19" fmla="*/ 1701 h 1893"/>
                  <a:gd name="T20" fmla="*/ 821 w 1893"/>
                  <a:gd name="T21" fmla="*/ 1802 h 1893"/>
                  <a:gd name="T22" fmla="*/ 670 w 1893"/>
                  <a:gd name="T23" fmla="*/ 1893 h 1893"/>
                  <a:gd name="T24" fmla="*/ 0 w 1893"/>
                  <a:gd name="T25" fmla="*/ 720 h 1893"/>
                  <a:gd name="T26" fmla="*/ 124 w 1893"/>
                  <a:gd name="T27" fmla="*/ 641 h 1893"/>
                  <a:gd name="T28" fmla="*/ 243 w 1893"/>
                  <a:gd name="T29" fmla="*/ 554 h 1893"/>
                  <a:gd name="T30" fmla="*/ 354 w 1893"/>
                  <a:gd name="T31" fmla="*/ 459 h 1893"/>
                  <a:gd name="T32" fmla="*/ 457 w 1893"/>
                  <a:gd name="T33" fmla="*/ 356 h 1893"/>
                  <a:gd name="T34" fmla="*/ 551 w 1893"/>
                  <a:gd name="T35" fmla="*/ 243 h 1893"/>
                  <a:gd name="T36" fmla="*/ 639 w 1893"/>
                  <a:gd name="T37" fmla="*/ 124 h 1893"/>
                  <a:gd name="T38" fmla="*/ 716 w 1893"/>
                  <a:gd name="T39" fmla="*/ 0 h 18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893" h="1893">
                    <a:moveTo>
                      <a:pt x="716" y="0"/>
                    </a:moveTo>
                    <a:lnTo>
                      <a:pt x="1893" y="664"/>
                    </a:lnTo>
                    <a:lnTo>
                      <a:pt x="1802" y="815"/>
                    </a:lnTo>
                    <a:lnTo>
                      <a:pt x="1703" y="961"/>
                    </a:lnTo>
                    <a:lnTo>
                      <a:pt x="1596" y="1099"/>
                    </a:lnTo>
                    <a:lnTo>
                      <a:pt x="1483" y="1234"/>
                    </a:lnTo>
                    <a:lnTo>
                      <a:pt x="1365" y="1361"/>
                    </a:lnTo>
                    <a:lnTo>
                      <a:pt x="1238" y="1481"/>
                    </a:lnTo>
                    <a:lnTo>
                      <a:pt x="1103" y="1596"/>
                    </a:lnTo>
                    <a:lnTo>
                      <a:pt x="965" y="1701"/>
                    </a:lnTo>
                    <a:lnTo>
                      <a:pt x="821" y="1802"/>
                    </a:lnTo>
                    <a:lnTo>
                      <a:pt x="670" y="1893"/>
                    </a:lnTo>
                    <a:lnTo>
                      <a:pt x="0" y="720"/>
                    </a:lnTo>
                    <a:lnTo>
                      <a:pt x="124" y="641"/>
                    </a:lnTo>
                    <a:lnTo>
                      <a:pt x="243" y="554"/>
                    </a:lnTo>
                    <a:lnTo>
                      <a:pt x="354" y="459"/>
                    </a:lnTo>
                    <a:lnTo>
                      <a:pt x="457" y="356"/>
                    </a:lnTo>
                    <a:lnTo>
                      <a:pt x="551" y="243"/>
                    </a:lnTo>
                    <a:lnTo>
                      <a:pt x="639" y="124"/>
                    </a:lnTo>
                    <a:lnTo>
                      <a:pt x="716" y="0"/>
                    </a:lnTo>
                    <a:close/>
                  </a:path>
                </a:pathLst>
              </a:custGeom>
              <a:gradFill>
                <a:gsLst>
                  <a:gs pos="87000">
                    <a:schemeClr val="bg1">
                      <a:lumMod val="85000"/>
                    </a:schemeClr>
                  </a:gs>
                  <a:gs pos="24000">
                    <a:schemeClr val="bg1">
                      <a:lumMod val="95000"/>
                    </a:schemeClr>
                  </a:gs>
                </a:gsLst>
                <a:lin ang="0" scaled="1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5" name="Freeform 73">
                <a:extLst>
                  <a:ext uri="{FF2B5EF4-FFF2-40B4-BE49-F238E27FC236}">
                    <a16:creationId xmlns:a16="http://schemas.microsoft.com/office/drawing/2014/main" id="{213818BF-64C0-A304-3845-A9CB90D56C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65949" y="3428477"/>
                <a:ext cx="835419" cy="839606"/>
              </a:xfrm>
              <a:custGeom>
                <a:avLst/>
                <a:gdLst>
                  <a:gd name="T0" fmla="*/ 247 w 1596"/>
                  <a:gd name="T1" fmla="*/ 0 h 1604"/>
                  <a:gd name="T2" fmla="*/ 1596 w 1596"/>
                  <a:gd name="T3" fmla="*/ 0 h 1604"/>
                  <a:gd name="T4" fmla="*/ 1592 w 1596"/>
                  <a:gd name="T5" fmla="*/ 194 h 1604"/>
                  <a:gd name="T6" fmla="*/ 1574 w 1596"/>
                  <a:gd name="T7" fmla="*/ 384 h 1604"/>
                  <a:gd name="T8" fmla="*/ 1547 w 1596"/>
                  <a:gd name="T9" fmla="*/ 570 h 1604"/>
                  <a:gd name="T10" fmla="*/ 1509 w 1596"/>
                  <a:gd name="T11" fmla="*/ 754 h 1604"/>
                  <a:gd name="T12" fmla="*/ 1462 w 1596"/>
                  <a:gd name="T13" fmla="*/ 932 h 1604"/>
                  <a:gd name="T14" fmla="*/ 1404 w 1596"/>
                  <a:gd name="T15" fmla="*/ 1108 h 1604"/>
                  <a:gd name="T16" fmla="*/ 1337 w 1596"/>
                  <a:gd name="T17" fmla="*/ 1278 h 1604"/>
                  <a:gd name="T18" fmla="*/ 1262 w 1596"/>
                  <a:gd name="T19" fmla="*/ 1444 h 1604"/>
                  <a:gd name="T20" fmla="*/ 1177 w 1596"/>
                  <a:gd name="T21" fmla="*/ 1604 h 1604"/>
                  <a:gd name="T22" fmla="*/ 0 w 1596"/>
                  <a:gd name="T23" fmla="*/ 940 h 1604"/>
                  <a:gd name="T24" fmla="*/ 63 w 1596"/>
                  <a:gd name="T25" fmla="*/ 819 h 1604"/>
                  <a:gd name="T26" fmla="*/ 116 w 1596"/>
                  <a:gd name="T27" fmla="*/ 692 h 1604"/>
                  <a:gd name="T28" fmla="*/ 162 w 1596"/>
                  <a:gd name="T29" fmla="*/ 562 h 1604"/>
                  <a:gd name="T30" fmla="*/ 199 w 1596"/>
                  <a:gd name="T31" fmla="*/ 425 h 1604"/>
                  <a:gd name="T32" fmla="*/ 225 w 1596"/>
                  <a:gd name="T33" fmla="*/ 287 h 1604"/>
                  <a:gd name="T34" fmla="*/ 241 w 1596"/>
                  <a:gd name="T35" fmla="*/ 146 h 1604"/>
                  <a:gd name="T36" fmla="*/ 247 w 1596"/>
                  <a:gd name="T37" fmla="*/ 0 h 1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96" h="1604">
                    <a:moveTo>
                      <a:pt x="247" y="0"/>
                    </a:moveTo>
                    <a:lnTo>
                      <a:pt x="1596" y="0"/>
                    </a:lnTo>
                    <a:lnTo>
                      <a:pt x="1592" y="194"/>
                    </a:lnTo>
                    <a:lnTo>
                      <a:pt x="1574" y="384"/>
                    </a:lnTo>
                    <a:lnTo>
                      <a:pt x="1547" y="570"/>
                    </a:lnTo>
                    <a:lnTo>
                      <a:pt x="1509" y="754"/>
                    </a:lnTo>
                    <a:lnTo>
                      <a:pt x="1462" y="932"/>
                    </a:lnTo>
                    <a:lnTo>
                      <a:pt x="1404" y="1108"/>
                    </a:lnTo>
                    <a:lnTo>
                      <a:pt x="1337" y="1278"/>
                    </a:lnTo>
                    <a:lnTo>
                      <a:pt x="1262" y="1444"/>
                    </a:lnTo>
                    <a:lnTo>
                      <a:pt x="1177" y="1604"/>
                    </a:lnTo>
                    <a:lnTo>
                      <a:pt x="0" y="940"/>
                    </a:lnTo>
                    <a:lnTo>
                      <a:pt x="63" y="819"/>
                    </a:lnTo>
                    <a:lnTo>
                      <a:pt x="116" y="692"/>
                    </a:lnTo>
                    <a:lnTo>
                      <a:pt x="162" y="562"/>
                    </a:lnTo>
                    <a:lnTo>
                      <a:pt x="199" y="425"/>
                    </a:lnTo>
                    <a:lnTo>
                      <a:pt x="225" y="287"/>
                    </a:lnTo>
                    <a:lnTo>
                      <a:pt x="241" y="146"/>
                    </a:lnTo>
                    <a:lnTo>
                      <a:pt x="247" y="0"/>
                    </a:lnTo>
                    <a:close/>
                  </a:path>
                </a:pathLst>
              </a:custGeom>
              <a:gradFill>
                <a:gsLst>
                  <a:gs pos="86000">
                    <a:schemeClr val="bg1">
                      <a:lumMod val="85000"/>
                    </a:schemeClr>
                  </a:gs>
                  <a:gs pos="17000">
                    <a:schemeClr val="bg1">
                      <a:lumMod val="95000"/>
                    </a:schemeClr>
                  </a:gs>
                </a:gsLst>
                <a:lin ang="16800000" scaled="0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" name="Freeform 74">
                <a:extLst>
                  <a:ext uri="{FF2B5EF4-FFF2-40B4-BE49-F238E27FC236}">
                    <a16:creationId xmlns:a16="http://schemas.microsoft.com/office/drawing/2014/main" id="{C4ACE2A8-1521-334A-20F8-C044F4324B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5439" y="4293208"/>
                <a:ext cx="859497" cy="842747"/>
              </a:xfrm>
              <a:custGeom>
                <a:avLst/>
                <a:gdLst>
                  <a:gd name="T0" fmla="*/ 681 w 1642"/>
                  <a:gd name="T1" fmla="*/ 0 h 1610"/>
                  <a:gd name="T2" fmla="*/ 803 w 1642"/>
                  <a:gd name="T3" fmla="*/ 65 h 1610"/>
                  <a:gd name="T4" fmla="*/ 932 w 1642"/>
                  <a:gd name="T5" fmla="*/ 122 h 1610"/>
                  <a:gd name="T6" fmla="*/ 1066 w 1642"/>
                  <a:gd name="T7" fmla="*/ 172 h 1610"/>
                  <a:gd name="T8" fmla="*/ 1205 w 1642"/>
                  <a:gd name="T9" fmla="*/ 209 h 1610"/>
                  <a:gd name="T10" fmla="*/ 1347 w 1642"/>
                  <a:gd name="T11" fmla="*/ 237 h 1610"/>
                  <a:gd name="T12" fmla="*/ 1492 w 1642"/>
                  <a:gd name="T13" fmla="*/ 253 h 1610"/>
                  <a:gd name="T14" fmla="*/ 1642 w 1642"/>
                  <a:gd name="T15" fmla="*/ 259 h 1610"/>
                  <a:gd name="T16" fmla="*/ 1642 w 1642"/>
                  <a:gd name="T17" fmla="*/ 259 h 1610"/>
                  <a:gd name="T18" fmla="*/ 1642 w 1642"/>
                  <a:gd name="T19" fmla="*/ 1610 h 1610"/>
                  <a:gd name="T20" fmla="*/ 1642 w 1642"/>
                  <a:gd name="T21" fmla="*/ 1610 h 1610"/>
                  <a:gd name="T22" fmla="*/ 1444 w 1642"/>
                  <a:gd name="T23" fmla="*/ 1604 h 1610"/>
                  <a:gd name="T24" fmla="*/ 1248 w 1642"/>
                  <a:gd name="T25" fmla="*/ 1586 h 1610"/>
                  <a:gd name="T26" fmla="*/ 1056 w 1642"/>
                  <a:gd name="T27" fmla="*/ 1559 h 1610"/>
                  <a:gd name="T28" fmla="*/ 869 w 1642"/>
                  <a:gd name="T29" fmla="*/ 1517 h 1610"/>
                  <a:gd name="T30" fmla="*/ 687 w 1642"/>
                  <a:gd name="T31" fmla="*/ 1468 h 1610"/>
                  <a:gd name="T32" fmla="*/ 507 w 1642"/>
                  <a:gd name="T33" fmla="*/ 1406 h 1610"/>
                  <a:gd name="T34" fmla="*/ 332 w 1642"/>
                  <a:gd name="T35" fmla="*/ 1337 h 1610"/>
                  <a:gd name="T36" fmla="*/ 162 w 1642"/>
                  <a:gd name="T37" fmla="*/ 1256 h 1610"/>
                  <a:gd name="T38" fmla="*/ 0 w 1642"/>
                  <a:gd name="T39" fmla="*/ 1167 h 1610"/>
                  <a:gd name="T40" fmla="*/ 681 w 1642"/>
                  <a:gd name="T41" fmla="*/ 0 h 1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42" h="1610">
                    <a:moveTo>
                      <a:pt x="681" y="0"/>
                    </a:moveTo>
                    <a:lnTo>
                      <a:pt x="803" y="65"/>
                    </a:lnTo>
                    <a:lnTo>
                      <a:pt x="932" y="122"/>
                    </a:lnTo>
                    <a:lnTo>
                      <a:pt x="1066" y="172"/>
                    </a:lnTo>
                    <a:lnTo>
                      <a:pt x="1205" y="209"/>
                    </a:lnTo>
                    <a:lnTo>
                      <a:pt x="1347" y="237"/>
                    </a:lnTo>
                    <a:lnTo>
                      <a:pt x="1492" y="253"/>
                    </a:lnTo>
                    <a:lnTo>
                      <a:pt x="1642" y="259"/>
                    </a:lnTo>
                    <a:lnTo>
                      <a:pt x="1642" y="259"/>
                    </a:lnTo>
                    <a:lnTo>
                      <a:pt x="1642" y="1610"/>
                    </a:lnTo>
                    <a:lnTo>
                      <a:pt x="1642" y="1610"/>
                    </a:lnTo>
                    <a:lnTo>
                      <a:pt x="1444" y="1604"/>
                    </a:lnTo>
                    <a:lnTo>
                      <a:pt x="1248" y="1586"/>
                    </a:lnTo>
                    <a:lnTo>
                      <a:pt x="1056" y="1559"/>
                    </a:lnTo>
                    <a:lnTo>
                      <a:pt x="869" y="1517"/>
                    </a:lnTo>
                    <a:lnTo>
                      <a:pt x="687" y="1468"/>
                    </a:lnTo>
                    <a:lnTo>
                      <a:pt x="507" y="1406"/>
                    </a:lnTo>
                    <a:lnTo>
                      <a:pt x="332" y="1337"/>
                    </a:lnTo>
                    <a:lnTo>
                      <a:pt x="162" y="1256"/>
                    </a:lnTo>
                    <a:lnTo>
                      <a:pt x="0" y="1167"/>
                    </a:lnTo>
                    <a:lnTo>
                      <a:pt x="681" y="0"/>
                    </a:lnTo>
                    <a:close/>
                  </a:path>
                </a:pathLst>
              </a:custGeom>
              <a:gradFill>
                <a:gsLst>
                  <a:gs pos="87000">
                    <a:schemeClr val="bg1">
                      <a:lumMod val="85000"/>
                    </a:schemeClr>
                  </a:gs>
                  <a:gs pos="24000">
                    <a:schemeClr val="bg1">
                      <a:lumMod val="95000"/>
                    </a:schemeClr>
                  </a:gs>
                </a:gsLst>
                <a:lin ang="0" scaled="1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7" name="Freeform 75">
                <a:extLst>
                  <a:ext uri="{FF2B5EF4-FFF2-40B4-BE49-F238E27FC236}">
                    <a16:creationId xmlns:a16="http://schemas.microsoft.com/office/drawing/2014/main" id="{E2FC5AAB-A4F0-5E20-5BF4-808D76758B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4937" y="4297396"/>
                <a:ext cx="846935" cy="838559"/>
              </a:xfrm>
              <a:custGeom>
                <a:avLst/>
                <a:gdLst>
                  <a:gd name="T0" fmla="*/ 948 w 1618"/>
                  <a:gd name="T1" fmla="*/ 0 h 1602"/>
                  <a:gd name="T2" fmla="*/ 1618 w 1618"/>
                  <a:gd name="T3" fmla="*/ 1173 h 1602"/>
                  <a:gd name="T4" fmla="*/ 1456 w 1618"/>
                  <a:gd name="T5" fmla="*/ 1260 h 1602"/>
                  <a:gd name="T6" fmla="*/ 1290 w 1618"/>
                  <a:gd name="T7" fmla="*/ 1337 h 1602"/>
                  <a:gd name="T8" fmla="*/ 1118 w 1618"/>
                  <a:gd name="T9" fmla="*/ 1406 h 1602"/>
                  <a:gd name="T10" fmla="*/ 942 w 1618"/>
                  <a:gd name="T11" fmla="*/ 1464 h 1602"/>
                  <a:gd name="T12" fmla="*/ 760 w 1618"/>
                  <a:gd name="T13" fmla="*/ 1513 h 1602"/>
                  <a:gd name="T14" fmla="*/ 576 w 1618"/>
                  <a:gd name="T15" fmla="*/ 1551 h 1602"/>
                  <a:gd name="T16" fmla="*/ 386 w 1618"/>
                  <a:gd name="T17" fmla="*/ 1580 h 1602"/>
                  <a:gd name="T18" fmla="*/ 194 w 1618"/>
                  <a:gd name="T19" fmla="*/ 1596 h 1602"/>
                  <a:gd name="T20" fmla="*/ 0 w 1618"/>
                  <a:gd name="T21" fmla="*/ 1602 h 1602"/>
                  <a:gd name="T22" fmla="*/ 0 w 1618"/>
                  <a:gd name="T23" fmla="*/ 251 h 1602"/>
                  <a:gd name="T24" fmla="*/ 146 w 1618"/>
                  <a:gd name="T25" fmla="*/ 245 h 1602"/>
                  <a:gd name="T26" fmla="*/ 289 w 1618"/>
                  <a:gd name="T27" fmla="*/ 229 h 1602"/>
                  <a:gd name="T28" fmla="*/ 429 w 1618"/>
                  <a:gd name="T29" fmla="*/ 203 h 1602"/>
                  <a:gd name="T30" fmla="*/ 566 w 1618"/>
                  <a:gd name="T31" fmla="*/ 166 h 1602"/>
                  <a:gd name="T32" fmla="*/ 698 w 1618"/>
                  <a:gd name="T33" fmla="*/ 120 h 1602"/>
                  <a:gd name="T34" fmla="*/ 825 w 1618"/>
                  <a:gd name="T35" fmla="*/ 63 h 1602"/>
                  <a:gd name="T36" fmla="*/ 948 w 1618"/>
                  <a:gd name="T37" fmla="*/ 0 h 16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618" h="1602">
                    <a:moveTo>
                      <a:pt x="948" y="0"/>
                    </a:moveTo>
                    <a:lnTo>
                      <a:pt x="1618" y="1173"/>
                    </a:lnTo>
                    <a:lnTo>
                      <a:pt x="1456" y="1260"/>
                    </a:lnTo>
                    <a:lnTo>
                      <a:pt x="1290" y="1337"/>
                    </a:lnTo>
                    <a:lnTo>
                      <a:pt x="1118" y="1406"/>
                    </a:lnTo>
                    <a:lnTo>
                      <a:pt x="942" y="1464"/>
                    </a:lnTo>
                    <a:lnTo>
                      <a:pt x="760" y="1513"/>
                    </a:lnTo>
                    <a:lnTo>
                      <a:pt x="576" y="1551"/>
                    </a:lnTo>
                    <a:lnTo>
                      <a:pt x="386" y="1580"/>
                    </a:lnTo>
                    <a:lnTo>
                      <a:pt x="194" y="1596"/>
                    </a:lnTo>
                    <a:lnTo>
                      <a:pt x="0" y="1602"/>
                    </a:lnTo>
                    <a:lnTo>
                      <a:pt x="0" y="251"/>
                    </a:lnTo>
                    <a:lnTo>
                      <a:pt x="146" y="245"/>
                    </a:lnTo>
                    <a:lnTo>
                      <a:pt x="289" y="229"/>
                    </a:lnTo>
                    <a:lnTo>
                      <a:pt x="429" y="203"/>
                    </a:lnTo>
                    <a:lnTo>
                      <a:pt x="566" y="166"/>
                    </a:lnTo>
                    <a:lnTo>
                      <a:pt x="698" y="120"/>
                    </a:lnTo>
                    <a:lnTo>
                      <a:pt x="825" y="63"/>
                    </a:lnTo>
                    <a:lnTo>
                      <a:pt x="948" y="0"/>
                    </a:lnTo>
                    <a:close/>
                  </a:path>
                </a:pathLst>
              </a:custGeom>
              <a:gradFill>
                <a:gsLst>
                  <a:gs pos="87000">
                    <a:schemeClr val="bg1">
                      <a:lumMod val="85000"/>
                    </a:schemeClr>
                  </a:gs>
                  <a:gs pos="24000">
                    <a:schemeClr val="bg1">
                      <a:lumMod val="95000"/>
                    </a:schemeClr>
                  </a:gs>
                </a:gsLst>
                <a:lin ang="0" scaled="1"/>
              </a:gra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21898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" name="Freeform 63">
              <a:extLst>
                <a:ext uri="{FF2B5EF4-FFF2-40B4-BE49-F238E27FC236}">
                  <a16:creationId xmlns:a16="http://schemas.microsoft.com/office/drawing/2014/main" id="{20F4B6A2-C29B-C181-07A6-38F9D1C3BE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99864" y="2959952"/>
              <a:ext cx="352651" cy="280206"/>
            </a:xfrm>
            <a:custGeom>
              <a:avLst/>
              <a:gdLst>
                <a:gd name="T0" fmla="*/ 3526 w 3526"/>
                <a:gd name="T1" fmla="*/ 2803 h 2803"/>
                <a:gd name="T2" fmla="*/ 0 w 3526"/>
                <a:gd name="T3" fmla="*/ 1227 h 2803"/>
                <a:gd name="T4" fmla="*/ 69 w 3526"/>
                <a:gd name="T5" fmla="*/ 1291 h 2803"/>
                <a:gd name="T6" fmla="*/ 150 w 3526"/>
                <a:gd name="T7" fmla="*/ 1340 h 2803"/>
                <a:gd name="T8" fmla="*/ 241 w 3526"/>
                <a:gd name="T9" fmla="*/ 1372 h 2803"/>
                <a:gd name="T10" fmla="*/ 341 w 3526"/>
                <a:gd name="T11" fmla="*/ 1382 h 2803"/>
                <a:gd name="T12" fmla="*/ 513 w 3526"/>
                <a:gd name="T13" fmla="*/ 1663 h 2803"/>
                <a:gd name="T14" fmla="*/ 921 w 3526"/>
                <a:gd name="T15" fmla="*/ 1382 h 2803"/>
                <a:gd name="T16" fmla="*/ 2494 w 3526"/>
                <a:gd name="T17" fmla="*/ 1663 h 2803"/>
                <a:gd name="T18" fmla="*/ 2900 w 3526"/>
                <a:gd name="T19" fmla="*/ 1382 h 2803"/>
                <a:gd name="T20" fmla="*/ 3223 w 3526"/>
                <a:gd name="T21" fmla="*/ 1379 h 2803"/>
                <a:gd name="T22" fmla="*/ 3323 w 3526"/>
                <a:gd name="T23" fmla="*/ 1355 h 2803"/>
                <a:gd name="T24" fmla="*/ 3414 w 3526"/>
                <a:gd name="T25" fmla="*/ 1309 h 2803"/>
                <a:gd name="T26" fmla="*/ 3492 w 3526"/>
                <a:gd name="T27" fmla="*/ 1245 h 2803"/>
                <a:gd name="T28" fmla="*/ 1317 w 3526"/>
                <a:gd name="T29" fmla="*/ 133 h 2803"/>
                <a:gd name="T30" fmla="*/ 2217 w 3526"/>
                <a:gd name="T31" fmla="*/ 350 h 2803"/>
                <a:gd name="T32" fmla="*/ 1317 w 3526"/>
                <a:gd name="T33" fmla="*/ 133 h 2803"/>
                <a:gd name="T34" fmla="*/ 2284 w 3526"/>
                <a:gd name="T35" fmla="*/ 0 h 2803"/>
                <a:gd name="T36" fmla="*/ 2317 w 3526"/>
                <a:gd name="T37" fmla="*/ 9 h 2803"/>
                <a:gd name="T38" fmla="*/ 2341 w 3526"/>
                <a:gd name="T39" fmla="*/ 32 h 2803"/>
                <a:gd name="T40" fmla="*/ 2350 w 3526"/>
                <a:gd name="T41" fmla="*/ 67 h 2803"/>
                <a:gd name="T42" fmla="*/ 3526 w 3526"/>
                <a:gd name="T43" fmla="*/ 350 h 2803"/>
                <a:gd name="T44" fmla="*/ 3514 w 3526"/>
                <a:gd name="T45" fmla="*/ 1041 h 2803"/>
                <a:gd name="T46" fmla="*/ 3476 w 3526"/>
                <a:gd name="T47" fmla="*/ 1123 h 2803"/>
                <a:gd name="T48" fmla="*/ 3420 w 3526"/>
                <a:gd name="T49" fmla="*/ 1193 h 2803"/>
                <a:gd name="T50" fmla="*/ 3347 w 3526"/>
                <a:gd name="T51" fmla="*/ 1246 h 2803"/>
                <a:gd name="T52" fmla="*/ 3263 w 3526"/>
                <a:gd name="T53" fmla="*/ 1281 h 2803"/>
                <a:gd name="T54" fmla="*/ 3169 w 3526"/>
                <a:gd name="T55" fmla="*/ 1293 h 2803"/>
                <a:gd name="T56" fmla="*/ 2900 w 3526"/>
                <a:gd name="T57" fmla="*/ 1184 h 2803"/>
                <a:gd name="T58" fmla="*/ 2494 w 3526"/>
                <a:gd name="T59" fmla="*/ 1293 h 2803"/>
                <a:gd name="T60" fmla="*/ 921 w 3526"/>
                <a:gd name="T61" fmla="*/ 1184 h 2803"/>
                <a:gd name="T62" fmla="*/ 513 w 3526"/>
                <a:gd name="T63" fmla="*/ 1293 h 2803"/>
                <a:gd name="T64" fmla="*/ 294 w 3526"/>
                <a:gd name="T65" fmla="*/ 1291 h 2803"/>
                <a:gd name="T66" fmla="*/ 208 w 3526"/>
                <a:gd name="T67" fmla="*/ 1268 h 2803"/>
                <a:gd name="T68" fmla="*/ 131 w 3526"/>
                <a:gd name="T69" fmla="*/ 1226 h 2803"/>
                <a:gd name="T70" fmla="*/ 66 w 3526"/>
                <a:gd name="T71" fmla="*/ 1167 h 2803"/>
                <a:gd name="T72" fmla="*/ 17 w 3526"/>
                <a:gd name="T73" fmla="*/ 1094 h 2803"/>
                <a:gd name="T74" fmla="*/ 0 w 3526"/>
                <a:gd name="T75" fmla="*/ 350 h 2803"/>
                <a:gd name="T76" fmla="*/ 1182 w 3526"/>
                <a:gd name="T77" fmla="*/ 67 h 2803"/>
                <a:gd name="T78" fmla="*/ 1192 w 3526"/>
                <a:gd name="T79" fmla="*/ 32 h 2803"/>
                <a:gd name="T80" fmla="*/ 1216 w 3526"/>
                <a:gd name="T81" fmla="*/ 9 h 2803"/>
                <a:gd name="T82" fmla="*/ 1250 w 3526"/>
                <a:gd name="T83" fmla="*/ 0 h 28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526" h="2803">
                  <a:moveTo>
                    <a:pt x="3526" y="1207"/>
                  </a:moveTo>
                  <a:lnTo>
                    <a:pt x="3526" y="2803"/>
                  </a:lnTo>
                  <a:lnTo>
                    <a:pt x="0" y="2803"/>
                  </a:lnTo>
                  <a:lnTo>
                    <a:pt x="0" y="1227"/>
                  </a:lnTo>
                  <a:lnTo>
                    <a:pt x="32" y="1260"/>
                  </a:lnTo>
                  <a:lnTo>
                    <a:pt x="69" y="1291"/>
                  </a:lnTo>
                  <a:lnTo>
                    <a:pt x="108" y="1318"/>
                  </a:lnTo>
                  <a:lnTo>
                    <a:pt x="150" y="1340"/>
                  </a:lnTo>
                  <a:lnTo>
                    <a:pt x="195" y="1359"/>
                  </a:lnTo>
                  <a:lnTo>
                    <a:pt x="241" y="1372"/>
                  </a:lnTo>
                  <a:lnTo>
                    <a:pt x="290" y="1379"/>
                  </a:lnTo>
                  <a:lnTo>
                    <a:pt x="341" y="1382"/>
                  </a:lnTo>
                  <a:lnTo>
                    <a:pt x="513" y="1382"/>
                  </a:lnTo>
                  <a:lnTo>
                    <a:pt x="513" y="1663"/>
                  </a:lnTo>
                  <a:lnTo>
                    <a:pt x="921" y="1663"/>
                  </a:lnTo>
                  <a:lnTo>
                    <a:pt x="921" y="1382"/>
                  </a:lnTo>
                  <a:lnTo>
                    <a:pt x="2494" y="1382"/>
                  </a:lnTo>
                  <a:lnTo>
                    <a:pt x="2494" y="1663"/>
                  </a:lnTo>
                  <a:lnTo>
                    <a:pt x="2900" y="1663"/>
                  </a:lnTo>
                  <a:lnTo>
                    <a:pt x="2900" y="1382"/>
                  </a:lnTo>
                  <a:lnTo>
                    <a:pt x="3169" y="1382"/>
                  </a:lnTo>
                  <a:lnTo>
                    <a:pt x="3223" y="1379"/>
                  </a:lnTo>
                  <a:lnTo>
                    <a:pt x="3275" y="1371"/>
                  </a:lnTo>
                  <a:lnTo>
                    <a:pt x="3323" y="1355"/>
                  </a:lnTo>
                  <a:lnTo>
                    <a:pt x="3371" y="1335"/>
                  </a:lnTo>
                  <a:lnTo>
                    <a:pt x="3414" y="1309"/>
                  </a:lnTo>
                  <a:lnTo>
                    <a:pt x="3455" y="1280"/>
                  </a:lnTo>
                  <a:lnTo>
                    <a:pt x="3492" y="1245"/>
                  </a:lnTo>
                  <a:lnTo>
                    <a:pt x="3526" y="1207"/>
                  </a:lnTo>
                  <a:close/>
                  <a:moveTo>
                    <a:pt x="1317" y="133"/>
                  </a:moveTo>
                  <a:lnTo>
                    <a:pt x="1317" y="350"/>
                  </a:lnTo>
                  <a:lnTo>
                    <a:pt x="2217" y="350"/>
                  </a:lnTo>
                  <a:lnTo>
                    <a:pt x="2217" y="133"/>
                  </a:lnTo>
                  <a:lnTo>
                    <a:pt x="1317" y="133"/>
                  </a:lnTo>
                  <a:close/>
                  <a:moveTo>
                    <a:pt x="1250" y="0"/>
                  </a:moveTo>
                  <a:lnTo>
                    <a:pt x="2284" y="0"/>
                  </a:lnTo>
                  <a:lnTo>
                    <a:pt x="2301" y="2"/>
                  </a:lnTo>
                  <a:lnTo>
                    <a:pt x="2317" y="9"/>
                  </a:lnTo>
                  <a:lnTo>
                    <a:pt x="2330" y="19"/>
                  </a:lnTo>
                  <a:lnTo>
                    <a:pt x="2341" y="32"/>
                  </a:lnTo>
                  <a:lnTo>
                    <a:pt x="2348" y="49"/>
                  </a:lnTo>
                  <a:lnTo>
                    <a:pt x="2350" y="67"/>
                  </a:lnTo>
                  <a:lnTo>
                    <a:pt x="2350" y="350"/>
                  </a:lnTo>
                  <a:lnTo>
                    <a:pt x="3526" y="350"/>
                  </a:lnTo>
                  <a:lnTo>
                    <a:pt x="3526" y="995"/>
                  </a:lnTo>
                  <a:lnTo>
                    <a:pt x="3514" y="1041"/>
                  </a:lnTo>
                  <a:lnTo>
                    <a:pt x="3498" y="1083"/>
                  </a:lnTo>
                  <a:lnTo>
                    <a:pt x="3476" y="1123"/>
                  </a:lnTo>
                  <a:lnTo>
                    <a:pt x="3450" y="1160"/>
                  </a:lnTo>
                  <a:lnTo>
                    <a:pt x="3420" y="1193"/>
                  </a:lnTo>
                  <a:lnTo>
                    <a:pt x="3385" y="1221"/>
                  </a:lnTo>
                  <a:lnTo>
                    <a:pt x="3347" y="1246"/>
                  </a:lnTo>
                  <a:lnTo>
                    <a:pt x="3306" y="1267"/>
                  </a:lnTo>
                  <a:lnTo>
                    <a:pt x="3263" y="1281"/>
                  </a:lnTo>
                  <a:lnTo>
                    <a:pt x="3216" y="1291"/>
                  </a:lnTo>
                  <a:lnTo>
                    <a:pt x="3169" y="1293"/>
                  </a:lnTo>
                  <a:lnTo>
                    <a:pt x="2900" y="1293"/>
                  </a:lnTo>
                  <a:lnTo>
                    <a:pt x="2900" y="1184"/>
                  </a:lnTo>
                  <a:lnTo>
                    <a:pt x="2494" y="1184"/>
                  </a:lnTo>
                  <a:lnTo>
                    <a:pt x="2494" y="1293"/>
                  </a:lnTo>
                  <a:lnTo>
                    <a:pt x="921" y="1293"/>
                  </a:lnTo>
                  <a:lnTo>
                    <a:pt x="921" y="1184"/>
                  </a:lnTo>
                  <a:lnTo>
                    <a:pt x="513" y="1184"/>
                  </a:lnTo>
                  <a:lnTo>
                    <a:pt x="513" y="1293"/>
                  </a:lnTo>
                  <a:lnTo>
                    <a:pt x="341" y="1293"/>
                  </a:lnTo>
                  <a:lnTo>
                    <a:pt x="294" y="1291"/>
                  </a:lnTo>
                  <a:lnTo>
                    <a:pt x="250" y="1282"/>
                  </a:lnTo>
                  <a:lnTo>
                    <a:pt x="208" y="1268"/>
                  </a:lnTo>
                  <a:lnTo>
                    <a:pt x="168" y="1249"/>
                  </a:lnTo>
                  <a:lnTo>
                    <a:pt x="131" y="1226"/>
                  </a:lnTo>
                  <a:lnTo>
                    <a:pt x="96" y="1198"/>
                  </a:lnTo>
                  <a:lnTo>
                    <a:pt x="66" y="1167"/>
                  </a:lnTo>
                  <a:lnTo>
                    <a:pt x="40" y="1132"/>
                  </a:lnTo>
                  <a:lnTo>
                    <a:pt x="17" y="1094"/>
                  </a:lnTo>
                  <a:lnTo>
                    <a:pt x="0" y="1054"/>
                  </a:lnTo>
                  <a:lnTo>
                    <a:pt x="0" y="350"/>
                  </a:lnTo>
                  <a:lnTo>
                    <a:pt x="1182" y="350"/>
                  </a:lnTo>
                  <a:lnTo>
                    <a:pt x="1182" y="67"/>
                  </a:lnTo>
                  <a:lnTo>
                    <a:pt x="1185" y="49"/>
                  </a:lnTo>
                  <a:lnTo>
                    <a:pt x="1192" y="32"/>
                  </a:lnTo>
                  <a:lnTo>
                    <a:pt x="1202" y="19"/>
                  </a:lnTo>
                  <a:lnTo>
                    <a:pt x="1216" y="9"/>
                  </a:lnTo>
                  <a:lnTo>
                    <a:pt x="1232" y="2"/>
                  </a:lnTo>
                  <a:lnTo>
                    <a:pt x="1250" y="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418" name="Rectangle 417">
            <a:extLst>
              <a:ext uri="{FF2B5EF4-FFF2-40B4-BE49-F238E27FC236}">
                <a16:creationId xmlns:a16="http://schemas.microsoft.com/office/drawing/2014/main" id="{A9C3EA63-FD45-9C6C-A89E-49663F55B7E5}"/>
              </a:ext>
            </a:extLst>
          </p:cNvPr>
          <p:cNvSpPr/>
          <p:nvPr/>
        </p:nvSpPr>
        <p:spPr>
          <a:xfrm>
            <a:off x="412827" y="2661643"/>
            <a:ext cx="2052463" cy="301482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Agreements</a:t>
            </a:r>
          </a:p>
        </p:txBody>
      </p:sp>
      <p:sp>
        <p:nvSpPr>
          <p:cNvPr id="211" name="Rectangle 210">
            <a:extLst>
              <a:ext uri="{FF2B5EF4-FFF2-40B4-BE49-F238E27FC236}">
                <a16:creationId xmlns:a16="http://schemas.microsoft.com/office/drawing/2014/main" id="{D1FCFD73-4499-031D-96F6-D44B462F02A5}"/>
              </a:ext>
            </a:extLst>
          </p:cNvPr>
          <p:cNvSpPr/>
          <p:nvPr/>
        </p:nvSpPr>
        <p:spPr>
          <a:xfrm>
            <a:off x="407667" y="2354278"/>
            <a:ext cx="2052463" cy="301482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Analytical Tools</a:t>
            </a:r>
          </a:p>
        </p:txBody>
      </p:sp>
      <p:sp>
        <p:nvSpPr>
          <p:cNvPr id="212" name="Rectangle 211">
            <a:extLst>
              <a:ext uri="{FF2B5EF4-FFF2-40B4-BE49-F238E27FC236}">
                <a16:creationId xmlns:a16="http://schemas.microsoft.com/office/drawing/2014/main" id="{1DE05764-C23E-4283-A780-678B3EFEC61F}"/>
              </a:ext>
            </a:extLst>
          </p:cNvPr>
          <p:cNvSpPr/>
          <p:nvPr/>
        </p:nvSpPr>
        <p:spPr>
          <a:xfrm>
            <a:off x="386100" y="5120563"/>
            <a:ext cx="2052463" cy="301482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Strategic Tools</a:t>
            </a:r>
          </a:p>
        </p:txBody>
      </p:sp>
      <p:sp>
        <p:nvSpPr>
          <p:cNvPr id="213" name="Rectangle 212">
            <a:extLst>
              <a:ext uri="{FF2B5EF4-FFF2-40B4-BE49-F238E27FC236}">
                <a16:creationId xmlns:a16="http://schemas.microsoft.com/office/drawing/2014/main" id="{77D4FEBB-5888-9C02-D2A4-0B6800B2E8BB}"/>
              </a:ext>
            </a:extLst>
          </p:cNvPr>
          <p:cNvSpPr/>
          <p:nvPr/>
        </p:nvSpPr>
        <p:spPr>
          <a:xfrm>
            <a:off x="421421" y="3276373"/>
            <a:ext cx="2052463" cy="301482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Content Modules</a:t>
            </a:r>
          </a:p>
        </p:txBody>
      </p:sp>
      <p:sp>
        <p:nvSpPr>
          <p:cNvPr id="214" name="Rectangle 213">
            <a:extLst>
              <a:ext uri="{FF2B5EF4-FFF2-40B4-BE49-F238E27FC236}">
                <a16:creationId xmlns:a16="http://schemas.microsoft.com/office/drawing/2014/main" id="{EABC3759-A001-D301-7AAD-9EDC23F906B8}"/>
              </a:ext>
            </a:extLst>
          </p:cNvPr>
          <p:cNvSpPr/>
          <p:nvPr/>
        </p:nvSpPr>
        <p:spPr>
          <a:xfrm>
            <a:off x="379086" y="5735298"/>
            <a:ext cx="2052463" cy="301482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Templates</a:t>
            </a:r>
          </a:p>
        </p:txBody>
      </p:sp>
      <p:sp>
        <p:nvSpPr>
          <p:cNvPr id="215" name="Rectangle 214">
            <a:extLst>
              <a:ext uri="{FF2B5EF4-FFF2-40B4-BE49-F238E27FC236}">
                <a16:creationId xmlns:a16="http://schemas.microsoft.com/office/drawing/2014/main" id="{506C45A4-93B8-FEF0-DD07-ECC9C2F6BAAF}"/>
              </a:ext>
            </a:extLst>
          </p:cNvPr>
          <p:cNvSpPr/>
          <p:nvPr/>
        </p:nvSpPr>
        <p:spPr>
          <a:xfrm>
            <a:off x="402105" y="4198468"/>
            <a:ext cx="2052463" cy="301482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Job Descriptions </a:t>
            </a:r>
          </a:p>
        </p:txBody>
      </p:sp>
      <p:sp>
        <p:nvSpPr>
          <p:cNvPr id="216" name="Rectangle 215">
            <a:extLst>
              <a:ext uri="{FF2B5EF4-FFF2-40B4-BE49-F238E27FC236}">
                <a16:creationId xmlns:a16="http://schemas.microsoft.com/office/drawing/2014/main" id="{1524BC27-33DE-37FD-8FFB-A3D9EC72595A}"/>
              </a:ext>
            </a:extLst>
          </p:cNvPr>
          <p:cNvSpPr/>
          <p:nvPr/>
        </p:nvSpPr>
        <p:spPr>
          <a:xfrm>
            <a:off x="416258" y="3583738"/>
            <a:ext cx="2052463" cy="301482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Checklists</a:t>
            </a:r>
          </a:p>
        </p:txBody>
      </p:sp>
      <p:sp>
        <p:nvSpPr>
          <p:cNvPr id="217" name="Rectangle 216">
            <a:extLst>
              <a:ext uri="{FF2B5EF4-FFF2-40B4-BE49-F238E27FC236}">
                <a16:creationId xmlns:a16="http://schemas.microsoft.com/office/drawing/2014/main" id="{6E55EBA7-E887-A28C-492D-C05011541FD1}"/>
              </a:ext>
            </a:extLst>
          </p:cNvPr>
          <p:cNvSpPr/>
          <p:nvPr/>
        </p:nvSpPr>
        <p:spPr>
          <a:xfrm>
            <a:off x="410046" y="3891103"/>
            <a:ext cx="2052463" cy="301482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Calculators</a:t>
            </a:r>
          </a:p>
        </p:txBody>
      </p:sp>
      <p:sp>
        <p:nvSpPr>
          <p:cNvPr id="218" name="Rectangle 217">
            <a:extLst>
              <a:ext uri="{FF2B5EF4-FFF2-40B4-BE49-F238E27FC236}">
                <a16:creationId xmlns:a16="http://schemas.microsoft.com/office/drawing/2014/main" id="{034017E2-3A05-07FB-5E21-004CE52B58B7}"/>
              </a:ext>
            </a:extLst>
          </p:cNvPr>
          <p:cNvSpPr/>
          <p:nvPr/>
        </p:nvSpPr>
        <p:spPr>
          <a:xfrm>
            <a:off x="387027" y="4813198"/>
            <a:ext cx="2052463" cy="301482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Research </a:t>
            </a:r>
          </a:p>
        </p:txBody>
      </p:sp>
      <p:sp>
        <p:nvSpPr>
          <p:cNvPr id="219" name="Rectangle 218">
            <a:extLst>
              <a:ext uri="{FF2B5EF4-FFF2-40B4-BE49-F238E27FC236}">
                <a16:creationId xmlns:a16="http://schemas.microsoft.com/office/drawing/2014/main" id="{686D1E88-06E9-91B5-C258-2E99452197B9}"/>
              </a:ext>
            </a:extLst>
          </p:cNvPr>
          <p:cNvSpPr/>
          <p:nvPr/>
        </p:nvSpPr>
        <p:spPr>
          <a:xfrm>
            <a:off x="375780" y="5427928"/>
            <a:ext cx="2052463" cy="301482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Scorecards</a:t>
            </a:r>
          </a:p>
        </p:txBody>
      </p:sp>
      <p:sp>
        <p:nvSpPr>
          <p:cNvPr id="220" name="Rectangle 219">
            <a:extLst>
              <a:ext uri="{FF2B5EF4-FFF2-40B4-BE49-F238E27FC236}">
                <a16:creationId xmlns:a16="http://schemas.microsoft.com/office/drawing/2014/main" id="{1D6CC9B2-FF8C-9C3A-E0F2-F3F398331705}"/>
              </a:ext>
            </a:extLst>
          </p:cNvPr>
          <p:cNvSpPr/>
          <p:nvPr/>
        </p:nvSpPr>
        <p:spPr>
          <a:xfrm>
            <a:off x="396420" y="4505833"/>
            <a:ext cx="2052463" cy="301482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KPI’s</a:t>
            </a:r>
          </a:p>
        </p:txBody>
      </p:sp>
      <p:sp>
        <p:nvSpPr>
          <p:cNvPr id="224" name="Rectangle 223">
            <a:extLst>
              <a:ext uri="{FF2B5EF4-FFF2-40B4-BE49-F238E27FC236}">
                <a16:creationId xmlns:a16="http://schemas.microsoft.com/office/drawing/2014/main" id="{3ECC189E-389F-6A39-01E0-14432C3376DC}"/>
              </a:ext>
            </a:extLst>
          </p:cNvPr>
          <p:cNvSpPr/>
          <p:nvPr/>
        </p:nvSpPr>
        <p:spPr>
          <a:xfrm>
            <a:off x="2566811" y="2598506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225" name="Rectangle 224">
            <a:extLst>
              <a:ext uri="{FF2B5EF4-FFF2-40B4-BE49-F238E27FC236}">
                <a16:creationId xmlns:a16="http://schemas.microsoft.com/office/drawing/2014/main" id="{95CF2858-1B59-7633-9E58-D99D29DF83BF}"/>
              </a:ext>
            </a:extLst>
          </p:cNvPr>
          <p:cNvSpPr/>
          <p:nvPr/>
        </p:nvSpPr>
        <p:spPr>
          <a:xfrm>
            <a:off x="2566811" y="2899988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Agreements</a:t>
            </a:r>
          </a:p>
        </p:txBody>
      </p:sp>
      <p:sp>
        <p:nvSpPr>
          <p:cNvPr id="226" name="Rectangle 225">
            <a:extLst>
              <a:ext uri="{FF2B5EF4-FFF2-40B4-BE49-F238E27FC236}">
                <a16:creationId xmlns:a16="http://schemas.microsoft.com/office/drawing/2014/main" id="{04881923-66A2-DD13-411C-A3E122E48823}"/>
              </a:ext>
            </a:extLst>
          </p:cNvPr>
          <p:cNvSpPr/>
          <p:nvPr/>
        </p:nvSpPr>
        <p:spPr>
          <a:xfrm>
            <a:off x="2566811" y="3201470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Analytics</a:t>
            </a:r>
          </a:p>
        </p:txBody>
      </p:sp>
      <p:sp>
        <p:nvSpPr>
          <p:cNvPr id="227" name="Rectangle 226">
            <a:extLst>
              <a:ext uri="{FF2B5EF4-FFF2-40B4-BE49-F238E27FC236}">
                <a16:creationId xmlns:a16="http://schemas.microsoft.com/office/drawing/2014/main" id="{13525AFA-3842-8C7F-7A6C-6F0FB7E44196}"/>
              </a:ext>
            </a:extLst>
          </p:cNvPr>
          <p:cNvSpPr/>
          <p:nvPr/>
        </p:nvSpPr>
        <p:spPr>
          <a:xfrm>
            <a:off x="2566811" y="3502951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Barriers</a:t>
            </a:r>
          </a:p>
        </p:txBody>
      </p:sp>
      <p:sp>
        <p:nvSpPr>
          <p:cNvPr id="228" name="Rectangle 227">
            <a:extLst>
              <a:ext uri="{FF2B5EF4-FFF2-40B4-BE49-F238E27FC236}">
                <a16:creationId xmlns:a16="http://schemas.microsoft.com/office/drawing/2014/main" id="{A045CB11-A0BE-D95D-FA42-CA7000A8E443}"/>
              </a:ext>
            </a:extLst>
          </p:cNvPr>
          <p:cNvSpPr/>
          <p:nvPr/>
        </p:nvSpPr>
        <p:spPr>
          <a:xfrm>
            <a:off x="2566811" y="3804433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Business Reviews</a:t>
            </a:r>
          </a:p>
        </p:txBody>
      </p:sp>
      <p:sp>
        <p:nvSpPr>
          <p:cNvPr id="229" name="Rectangle 228">
            <a:extLst>
              <a:ext uri="{FF2B5EF4-FFF2-40B4-BE49-F238E27FC236}">
                <a16:creationId xmlns:a16="http://schemas.microsoft.com/office/drawing/2014/main" id="{94C7F36E-269F-DC16-EC86-C9795735AA3E}"/>
              </a:ext>
            </a:extLst>
          </p:cNvPr>
          <p:cNvSpPr/>
          <p:nvPr/>
        </p:nvSpPr>
        <p:spPr>
          <a:xfrm>
            <a:off x="2566811" y="4105915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Business Intelligence</a:t>
            </a:r>
          </a:p>
        </p:txBody>
      </p:sp>
      <p:sp>
        <p:nvSpPr>
          <p:cNvPr id="230" name="Rectangle 229">
            <a:extLst>
              <a:ext uri="{FF2B5EF4-FFF2-40B4-BE49-F238E27FC236}">
                <a16:creationId xmlns:a16="http://schemas.microsoft.com/office/drawing/2014/main" id="{ED32097C-3A33-5ED2-2C9B-2B4FE6B95F76}"/>
              </a:ext>
            </a:extLst>
          </p:cNvPr>
          <p:cNvSpPr/>
          <p:nvPr/>
        </p:nvSpPr>
        <p:spPr>
          <a:xfrm>
            <a:off x="2566811" y="4407397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Channels</a:t>
            </a:r>
          </a:p>
        </p:txBody>
      </p:sp>
      <p:sp>
        <p:nvSpPr>
          <p:cNvPr id="231" name="Rectangle 230">
            <a:extLst>
              <a:ext uri="{FF2B5EF4-FFF2-40B4-BE49-F238E27FC236}">
                <a16:creationId xmlns:a16="http://schemas.microsoft.com/office/drawing/2014/main" id="{F35A815E-0064-B362-4A7D-AC7E79406F0C}"/>
              </a:ext>
            </a:extLst>
          </p:cNvPr>
          <p:cNvSpPr/>
          <p:nvPr/>
        </p:nvSpPr>
        <p:spPr>
          <a:xfrm>
            <a:off x="2566811" y="4708880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Communication</a:t>
            </a:r>
          </a:p>
        </p:txBody>
      </p:sp>
      <p:sp>
        <p:nvSpPr>
          <p:cNvPr id="232" name="Rectangle 231">
            <a:extLst>
              <a:ext uri="{FF2B5EF4-FFF2-40B4-BE49-F238E27FC236}">
                <a16:creationId xmlns:a16="http://schemas.microsoft.com/office/drawing/2014/main" id="{90155C62-D61D-CB1B-C865-A3DEB8C2CCE8}"/>
              </a:ext>
            </a:extLst>
          </p:cNvPr>
          <p:cNvSpPr/>
          <p:nvPr/>
        </p:nvSpPr>
        <p:spPr>
          <a:xfrm>
            <a:off x="2566811" y="5010362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Competitive Evaluation</a:t>
            </a:r>
          </a:p>
        </p:txBody>
      </p:sp>
      <p:sp>
        <p:nvSpPr>
          <p:cNvPr id="233" name="Rectangle 232">
            <a:extLst>
              <a:ext uri="{FF2B5EF4-FFF2-40B4-BE49-F238E27FC236}">
                <a16:creationId xmlns:a16="http://schemas.microsoft.com/office/drawing/2014/main" id="{92E4F93B-5610-0CDA-1871-9B41788A98A4}"/>
              </a:ext>
            </a:extLst>
          </p:cNvPr>
          <p:cNvSpPr/>
          <p:nvPr/>
        </p:nvSpPr>
        <p:spPr>
          <a:xfrm>
            <a:off x="2566811" y="5311844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Competitive Intelligence</a:t>
            </a:r>
          </a:p>
        </p:txBody>
      </p:sp>
      <p:sp>
        <p:nvSpPr>
          <p:cNvPr id="237" name="Rectangle 236">
            <a:extLst>
              <a:ext uri="{FF2B5EF4-FFF2-40B4-BE49-F238E27FC236}">
                <a16:creationId xmlns:a16="http://schemas.microsoft.com/office/drawing/2014/main" id="{C44533D8-6FD4-9DDC-35C7-D84BFD2C8C35}"/>
              </a:ext>
            </a:extLst>
          </p:cNvPr>
          <p:cNvSpPr/>
          <p:nvPr/>
        </p:nvSpPr>
        <p:spPr>
          <a:xfrm>
            <a:off x="3966444" y="2598506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Customer Acquisition</a:t>
            </a:r>
          </a:p>
        </p:txBody>
      </p:sp>
      <p:sp>
        <p:nvSpPr>
          <p:cNvPr id="238" name="Rectangle 237">
            <a:extLst>
              <a:ext uri="{FF2B5EF4-FFF2-40B4-BE49-F238E27FC236}">
                <a16:creationId xmlns:a16="http://schemas.microsoft.com/office/drawing/2014/main" id="{1EB0CAD8-450D-4F8C-AD6F-0074FD5DA80A}"/>
              </a:ext>
            </a:extLst>
          </p:cNvPr>
          <p:cNvSpPr/>
          <p:nvPr/>
        </p:nvSpPr>
        <p:spPr>
          <a:xfrm>
            <a:off x="3966444" y="2899988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Customer Management</a:t>
            </a:r>
          </a:p>
        </p:txBody>
      </p:sp>
      <p:sp>
        <p:nvSpPr>
          <p:cNvPr id="239" name="Rectangle 238">
            <a:extLst>
              <a:ext uri="{FF2B5EF4-FFF2-40B4-BE49-F238E27FC236}">
                <a16:creationId xmlns:a16="http://schemas.microsoft.com/office/drawing/2014/main" id="{BCB846E0-E016-897C-3DBF-71501B91AA87}"/>
              </a:ext>
            </a:extLst>
          </p:cNvPr>
          <p:cNvSpPr/>
          <p:nvPr/>
        </p:nvSpPr>
        <p:spPr>
          <a:xfrm>
            <a:off x="3966444" y="3201470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Distribution </a:t>
            </a:r>
          </a:p>
        </p:txBody>
      </p:sp>
      <p:sp>
        <p:nvSpPr>
          <p:cNvPr id="240" name="Rectangle 239">
            <a:extLst>
              <a:ext uri="{FF2B5EF4-FFF2-40B4-BE49-F238E27FC236}">
                <a16:creationId xmlns:a16="http://schemas.microsoft.com/office/drawing/2014/main" id="{802B5EC1-E814-0573-93AE-C1F71645704C}"/>
              </a:ext>
            </a:extLst>
          </p:cNvPr>
          <p:cNvSpPr/>
          <p:nvPr/>
        </p:nvSpPr>
        <p:spPr>
          <a:xfrm>
            <a:off x="3966444" y="3502951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Distributor Management</a:t>
            </a:r>
          </a:p>
        </p:txBody>
      </p:sp>
      <p:sp>
        <p:nvSpPr>
          <p:cNvPr id="241" name="Rectangle 240">
            <a:extLst>
              <a:ext uri="{FF2B5EF4-FFF2-40B4-BE49-F238E27FC236}">
                <a16:creationId xmlns:a16="http://schemas.microsoft.com/office/drawing/2014/main" id="{FDA5EE8F-0ADC-E39D-BA41-4D2DB19D3931}"/>
              </a:ext>
            </a:extLst>
          </p:cNvPr>
          <p:cNvSpPr/>
          <p:nvPr/>
        </p:nvSpPr>
        <p:spPr>
          <a:xfrm>
            <a:off x="3966444" y="3804433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Forecasting</a:t>
            </a:r>
          </a:p>
        </p:txBody>
      </p:sp>
      <p:sp>
        <p:nvSpPr>
          <p:cNvPr id="242" name="Rectangle 241">
            <a:extLst>
              <a:ext uri="{FF2B5EF4-FFF2-40B4-BE49-F238E27FC236}">
                <a16:creationId xmlns:a16="http://schemas.microsoft.com/office/drawing/2014/main" id="{F1F73A0B-DF0A-006E-12BE-1074E5F78175}"/>
              </a:ext>
            </a:extLst>
          </p:cNvPr>
          <p:cNvSpPr/>
          <p:nvPr/>
        </p:nvSpPr>
        <p:spPr>
          <a:xfrm>
            <a:off x="3966444" y="4105915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GAP Analysis</a:t>
            </a:r>
          </a:p>
        </p:txBody>
      </p:sp>
      <p:sp>
        <p:nvSpPr>
          <p:cNvPr id="243" name="Rectangle 242">
            <a:extLst>
              <a:ext uri="{FF2B5EF4-FFF2-40B4-BE49-F238E27FC236}">
                <a16:creationId xmlns:a16="http://schemas.microsoft.com/office/drawing/2014/main" id="{CF523630-A9AE-6498-F7E3-58BC0EFA6091}"/>
              </a:ext>
            </a:extLst>
          </p:cNvPr>
          <p:cNvSpPr/>
          <p:nvPr/>
        </p:nvSpPr>
        <p:spPr>
          <a:xfrm>
            <a:off x="3966444" y="4407397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Go To Market</a:t>
            </a:r>
          </a:p>
        </p:txBody>
      </p:sp>
      <p:sp>
        <p:nvSpPr>
          <p:cNvPr id="244" name="Rectangle 243">
            <a:extLst>
              <a:ext uri="{FF2B5EF4-FFF2-40B4-BE49-F238E27FC236}">
                <a16:creationId xmlns:a16="http://schemas.microsoft.com/office/drawing/2014/main" id="{2D7EEEAA-5E2C-A1AC-574A-D516A01B55C6}"/>
              </a:ext>
            </a:extLst>
          </p:cNvPr>
          <p:cNvSpPr/>
          <p:nvPr/>
        </p:nvSpPr>
        <p:spPr>
          <a:xfrm>
            <a:off x="3966444" y="4708880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Job Descriptions</a:t>
            </a:r>
          </a:p>
        </p:txBody>
      </p:sp>
      <p:sp>
        <p:nvSpPr>
          <p:cNvPr id="245" name="Rectangle 244">
            <a:extLst>
              <a:ext uri="{FF2B5EF4-FFF2-40B4-BE49-F238E27FC236}">
                <a16:creationId xmlns:a16="http://schemas.microsoft.com/office/drawing/2014/main" id="{B1A00D86-0753-0DDD-D11D-F63F984451E9}"/>
              </a:ext>
            </a:extLst>
          </p:cNvPr>
          <p:cNvSpPr/>
          <p:nvPr/>
        </p:nvSpPr>
        <p:spPr>
          <a:xfrm>
            <a:off x="3966444" y="5010362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Key Account Plans </a:t>
            </a:r>
          </a:p>
        </p:txBody>
      </p:sp>
      <p:sp>
        <p:nvSpPr>
          <p:cNvPr id="246" name="Rectangle 245">
            <a:extLst>
              <a:ext uri="{FF2B5EF4-FFF2-40B4-BE49-F238E27FC236}">
                <a16:creationId xmlns:a16="http://schemas.microsoft.com/office/drawing/2014/main" id="{DC4DBF2D-EE28-3D7D-F823-7C9FD01A9ABF}"/>
              </a:ext>
            </a:extLst>
          </p:cNvPr>
          <p:cNvSpPr/>
          <p:nvPr/>
        </p:nvSpPr>
        <p:spPr>
          <a:xfrm>
            <a:off x="3966444" y="5311844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Management Summary</a:t>
            </a:r>
          </a:p>
        </p:txBody>
      </p:sp>
      <p:sp>
        <p:nvSpPr>
          <p:cNvPr id="250" name="Rectangle 249">
            <a:extLst>
              <a:ext uri="{FF2B5EF4-FFF2-40B4-BE49-F238E27FC236}">
                <a16:creationId xmlns:a16="http://schemas.microsoft.com/office/drawing/2014/main" id="{B45F2524-0A25-E756-72F6-7C45F809EEA5}"/>
              </a:ext>
            </a:extLst>
          </p:cNvPr>
          <p:cNvSpPr/>
          <p:nvPr/>
        </p:nvSpPr>
        <p:spPr>
          <a:xfrm>
            <a:off x="5366076" y="2598506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Margins</a:t>
            </a:r>
          </a:p>
        </p:txBody>
      </p:sp>
      <p:sp>
        <p:nvSpPr>
          <p:cNvPr id="251" name="Rectangle 250">
            <a:extLst>
              <a:ext uri="{FF2B5EF4-FFF2-40B4-BE49-F238E27FC236}">
                <a16:creationId xmlns:a16="http://schemas.microsoft.com/office/drawing/2014/main" id="{67A89327-2ABD-FDA3-1AD8-F544AE466AD6}"/>
              </a:ext>
            </a:extLst>
          </p:cNvPr>
          <p:cNvSpPr/>
          <p:nvPr/>
        </p:nvSpPr>
        <p:spPr>
          <a:xfrm>
            <a:off x="5366076" y="2899988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Market Analysis</a:t>
            </a:r>
          </a:p>
        </p:txBody>
      </p:sp>
      <p:sp>
        <p:nvSpPr>
          <p:cNvPr id="252" name="Rectangle 251">
            <a:extLst>
              <a:ext uri="{FF2B5EF4-FFF2-40B4-BE49-F238E27FC236}">
                <a16:creationId xmlns:a16="http://schemas.microsoft.com/office/drawing/2014/main" id="{58988DED-EE57-F69F-C842-F713F60986E4}"/>
              </a:ext>
            </a:extLst>
          </p:cNvPr>
          <p:cNvSpPr/>
          <p:nvPr/>
        </p:nvSpPr>
        <p:spPr>
          <a:xfrm>
            <a:off x="5366076" y="3201470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Market Development</a:t>
            </a:r>
          </a:p>
        </p:txBody>
      </p:sp>
      <p:sp>
        <p:nvSpPr>
          <p:cNvPr id="253" name="Rectangle 252">
            <a:extLst>
              <a:ext uri="{FF2B5EF4-FFF2-40B4-BE49-F238E27FC236}">
                <a16:creationId xmlns:a16="http://schemas.microsoft.com/office/drawing/2014/main" id="{BC1A4986-391B-D15B-9E40-C2E41E9CF271}"/>
              </a:ext>
            </a:extLst>
          </p:cNvPr>
          <p:cNvSpPr/>
          <p:nvPr/>
        </p:nvSpPr>
        <p:spPr>
          <a:xfrm>
            <a:off x="5366076" y="3502951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Market Research </a:t>
            </a:r>
          </a:p>
        </p:txBody>
      </p:sp>
      <p:sp>
        <p:nvSpPr>
          <p:cNvPr id="254" name="Rectangle 253">
            <a:extLst>
              <a:ext uri="{FF2B5EF4-FFF2-40B4-BE49-F238E27FC236}">
                <a16:creationId xmlns:a16="http://schemas.microsoft.com/office/drawing/2014/main" id="{A5C39F91-6739-A5F1-DC84-D743ED36793D}"/>
              </a:ext>
            </a:extLst>
          </p:cNvPr>
          <p:cNvSpPr/>
          <p:nvPr/>
        </p:nvSpPr>
        <p:spPr>
          <a:xfrm>
            <a:off x="5366076" y="3804433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Market Segmentation</a:t>
            </a:r>
          </a:p>
        </p:txBody>
      </p:sp>
      <p:sp>
        <p:nvSpPr>
          <p:cNvPr id="255" name="Rectangle 254">
            <a:extLst>
              <a:ext uri="{FF2B5EF4-FFF2-40B4-BE49-F238E27FC236}">
                <a16:creationId xmlns:a16="http://schemas.microsoft.com/office/drawing/2014/main" id="{340E96EF-F043-CF54-06EB-BCE31137F6D8}"/>
              </a:ext>
            </a:extLst>
          </p:cNvPr>
          <p:cNvSpPr/>
          <p:nvPr/>
        </p:nvSpPr>
        <p:spPr>
          <a:xfrm>
            <a:off x="5366076" y="4105915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Market Size</a:t>
            </a:r>
          </a:p>
        </p:txBody>
      </p:sp>
      <p:sp>
        <p:nvSpPr>
          <p:cNvPr id="256" name="Rectangle 255">
            <a:extLst>
              <a:ext uri="{FF2B5EF4-FFF2-40B4-BE49-F238E27FC236}">
                <a16:creationId xmlns:a16="http://schemas.microsoft.com/office/drawing/2014/main" id="{B1C8F87D-6A0A-3E18-5842-64E0E78FA6C2}"/>
              </a:ext>
            </a:extLst>
          </p:cNvPr>
          <p:cNvSpPr/>
          <p:nvPr/>
        </p:nvSpPr>
        <p:spPr>
          <a:xfrm>
            <a:off x="5366076" y="4407397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Marketing</a:t>
            </a:r>
          </a:p>
        </p:txBody>
      </p:sp>
      <p:sp>
        <p:nvSpPr>
          <p:cNvPr id="257" name="Rectangle 256">
            <a:extLst>
              <a:ext uri="{FF2B5EF4-FFF2-40B4-BE49-F238E27FC236}">
                <a16:creationId xmlns:a16="http://schemas.microsoft.com/office/drawing/2014/main" id="{A3A8F6BC-FCD5-E479-D970-F8DF88AF7F63}"/>
              </a:ext>
            </a:extLst>
          </p:cNvPr>
          <p:cNvSpPr/>
          <p:nvPr/>
        </p:nvSpPr>
        <p:spPr>
          <a:xfrm>
            <a:off x="5366076" y="4708880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Marketing Comms</a:t>
            </a:r>
          </a:p>
        </p:txBody>
      </p:sp>
      <p:sp>
        <p:nvSpPr>
          <p:cNvPr id="258" name="Rectangle 257">
            <a:extLst>
              <a:ext uri="{FF2B5EF4-FFF2-40B4-BE49-F238E27FC236}">
                <a16:creationId xmlns:a16="http://schemas.microsoft.com/office/drawing/2014/main" id="{92CE92F6-8683-AD1D-89A2-B09148C431B9}"/>
              </a:ext>
            </a:extLst>
          </p:cNvPr>
          <p:cNvSpPr/>
          <p:nvPr/>
        </p:nvSpPr>
        <p:spPr>
          <a:xfrm>
            <a:off x="5366076" y="5010362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Merchandising</a:t>
            </a:r>
          </a:p>
        </p:txBody>
      </p:sp>
      <p:sp>
        <p:nvSpPr>
          <p:cNvPr id="259" name="Rectangle 258">
            <a:extLst>
              <a:ext uri="{FF2B5EF4-FFF2-40B4-BE49-F238E27FC236}">
                <a16:creationId xmlns:a16="http://schemas.microsoft.com/office/drawing/2014/main" id="{5AF324FD-9DBC-0AC4-47AA-E47235E6D76C}"/>
              </a:ext>
            </a:extLst>
          </p:cNvPr>
          <p:cNvSpPr/>
          <p:nvPr/>
        </p:nvSpPr>
        <p:spPr>
          <a:xfrm>
            <a:off x="5366076" y="5311844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New Market Entry</a:t>
            </a:r>
          </a:p>
        </p:txBody>
      </p:sp>
      <p:sp>
        <p:nvSpPr>
          <p:cNvPr id="263" name="Rectangle 262">
            <a:extLst>
              <a:ext uri="{FF2B5EF4-FFF2-40B4-BE49-F238E27FC236}">
                <a16:creationId xmlns:a16="http://schemas.microsoft.com/office/drawing/2014/main" id="{BA0AD984-93C6-77D3-0180-A1C0157F6E53}"/>
              </a:ext>
            </a:extLst>
          </p:cNvPr>
          <p:cNvSpPr/>
          <p:nvPr/>
        </p:nvSpPr>
        <p:spPr>
          <a:xfrm>
            <a:off x="6765709" y="2598506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Partner Search </a:t>
            </a:r>
          </a:p>
        </p:txBody>
      </p:sp>
      <p:sp>
        <p:nvSpPr>
          <p:cNvPr id="264" name="Rectangle 263">
            <a:extLst>
              <a:ext uri="{FF2B5EF4-FFF2-40B4-BE49-F238E27FC236}">
                <a16:creationId xmlns:a16="http://schemas.microsoft.com/office/drawing/2014/main" id="{14438355-24AC-27F6-AB89-79492BF008C9}"/>
              </a:ext>
            </a:extLst>
          </p:cNvPr>
          <p:cNvSpPr/>
          <p:nvPr/>
        </p:nvSpPr>
        <p:spPr>
          <a:xfrm>
            <a:off x="6765709" y="2899988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Persona Development</a:t>
            </a:r>
          </a:p>
        </p:txBody>
      </p:sp>
      <p:sp>
        <p:nvSpPr>
          <p:cNvPr id="265" name="Rectangle 264">
            <a:extLst>
              <a:ext uri="{FF2B5EF4-FFF2-40B4-BE49-F238E27FC236}">
                <a16:creationId xmlns:a16="http://schemas.microsoft.com/office/drawing/2014/main" id="{DAC53EAB-4CE9-80F8-3E79-F06D8A3180A7}"/>
              </a:ext>
            </a:extLst>
          </p:cNvPr>
          <p:cNvSpPr/>
          <p:nvPr/>
        </p:nvSpPr>
        <p:spPr>
          <a:xfrm>
            <a:off x="6765709" y="3201470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Planning</a:t>
            </a:r>
          </a:p>
        </p:txBody>
      </p:sp>
      <p:sp>
        <p:nvSpPr>
          <p:cNvPr id="266" name="Rectangle 265">
            <a:extLst>
              <a:ext uri="{FF2B5EF4-FFF2-40B4-BE49-F238E27FC236}">
                <a16:creationId xmlns:a16="http://schemas.microsoft.com/office/drawing/2014/main" id="{FDC3FB86-1658-18C1-E941-508B8CA7D935}"/>
              </a:ext>
            </a:extLst>
          </p:cNvPr>
          <p:cNvSpPr/>
          <p:nvPr/>
        </p:nvSpPr>
        <p:spPr>
          <a:xfrm>
            <a:off x="6765709" y="3502951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Positioning</a:t>
            </a:r>
          </a:p>
        </p:txBody>
      </p:sp>
      <p:sp>
        <p:nvSpPr>
          <p:cNvPr id="267" name="Rectangle 266">
            <a:extLst>
              <a:ext uri="{FF2B5EF4-FFF2-40B4-BE49-F238E27FC236}">
                <a16:creationId xmlns:a16="http://schemas.microsoft.com/office/drawing/2014/main" id="{8723F139-3BCB-79FF-4451-970D97DF5647}"/>
              </a:ext>
            </a:extLst>
          </p:cNvPr>
          <p:cNvSpPr/>
          <p:nvPr/>
        </p:nvSpPr>
        <p:spPr>
          <a:xfrm>
            <a:off x="6765709" y="3804433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Pricing</a:t>
            </a:r>
          </a:p>
        </p:txBody>
      </p:sp>
      <p:sp>
        <p:nvSpPr>
          <p:cNvPr id="268" name="Rectangle 267">
            <a:extLst>
              <a:ext uri="{FF2B5EF4-FFF2-40B4-BE49-F238E27FC236}">
                <a16:creationId xmlns:a16="http://schemas.microsoft.com/office/drawing/2014/main" id="{6B8A15B5-F01C-A28D-7096-1FD92486EBF7}"/>
              </a:ext>
            </a:extLst>
          </p:cNvPr>
          <p:cNvSpPr/>
          <p:nvPr/>
        </p:nvSpPr>
        <p:spPr>
          <a:xfrm>
            <a:off x="6765709" y="4105915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Prioritization</a:t>
            </a:r>
          </a:p>
        </p:txBody>
      </p:sp>
      <p:sp>
        <p:nvSpPr>
          <p:cNvPr id="269" name="Rectangle 268">
            <a:extLst>
              <a:ext uri="{FF2B5EF4-FFF2-40B4-BE49-F238E27FC236}">
                <a16:creationId xmlns:a16="http://schemas.microsoft.com/office/drawing/2014/main" id="{8830F413-FD0D-92CA-E93B-1079AD56C21E}"/>
              </a:ext>
            </a:extLst>
          </p:cNvPr>
          <p:cNvSpPr/>
          <p:nvPr/>
        </p:nvSpPr>
        <p:spPr>
          <a:xfrm>
            <a:off x="6765709" y="4407397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Product Development</a:t>
            </a:r>
          </a:p>
        </p:txBody>
      </p:sp>
      <p:sp>
        <p:nvSpPr>
          <p:cNvPr id="270" name="Rectangle 269">
            <a:extLst>
              <a:ext uri="{FF2B5EF4-FFF2-40B4-BE49-F238E27FC236}">
                <a16:creationId xmlns:a16="http://schemas.microsoft.com/office/drawing/2014/main" id="{BD2E7072-21B5-726B-CD46-CCA076FE703A}"/>
              </a:ext>
            </a:extLst>
          </p:cNvPr>
          <p:cNvSpPr/>
          <p:nvPr/>
        </p:nvSpPr>
        <p:spPr>
          <a:xfrm>
            <a:off x="6765709" y="4708880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Product Life Cycle </a:t>
            </a:r>
          </a:p>
        </p:txBody>
      </p:sp>
      <p:sp>
        <p:nvSpPr>
          <p:cNvPr id="271" name="Rectangle 270">
            <a:extLst>
              <a:ext uri="{FF2B5EF4-FFF2-40B4-BE49-F238E27FC236}">
                <a16:creationId xmlns:a16="http://schemas.microsoft.com/office/drawing/2014/main" id="{3AABC577-6461-B89D-2ACA-6DF727E6FC33}"/>
              </a:ext>
            </a:extLst>
          </p:cNvPr>
          <p:cNvSpPr/>
          <p:nvPr/>
        </p:nvSpPr>
        <p:spPr>
          <a:xfrm>
            <a:off x="6765709" y="5010362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Profit &amp; Loss</a:t>
            </a:r>
          </a:p>
        </p:txBody>
      </p:sp>
      <p:sp>
        <p:nvSpPr>
          <p:cNvPr id="272" name="Rectangle 271">
            <a:extLst>
              <a:ext uri="{FF2B5EF4-FFF2-40B4-BE49-F238E27FC236}">
                <a16:creationId xmlns:a16="http://schemas.microsoft.com/office/drawing/2014/main" id="{BBC48D0E-020E-6BD5-1156-A9DD16F41DF1}"/>
              </a:ext>
            </a:extLst>
          </p:cNvPr>
          <p:cNvSpPr/>
          <p:nvPr/>
        </p:nvSpPr>
        <p:spPr>
          <a:xfrm>
            <a:off x="6765709" y="5311844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Promotions</a:t>
            </a:r>
          </a:p>
        </p:txBody>
      </p:sp>
      <p:sp>
        <p:nvSpPr>
          <p:cNvPr id="276" name="Rectangle 275">
            <a:extLst>
              <a:ext uri="{FF2B5EF4-FFF2-40B4-BE49-F238E27FC236}">
                <a16:creationId xmlns:a16="http://schemas.microsoft.com/office/drawing/2014/main" id="{B218A901-C493-28F5-2778-B0E01D299F3A}"/>
              </a:ext>
            </a:extLst>
          </p:cNvPr>
          <p:cNvSpPr/>
          <p:nvPr/>
        </p:nvSpPr>
        <p:spPr>
          <a:xfrm>
            <a:off x="8165341" y="2598506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Reports</a:t>
            </a:r>
          </a:p>
        </p:txBody>
      </p:sp>
      <p:sp>
        <p:nvSpPr>
          <p:cNvPr id="277" name="Rectangle 276">
            <a:extLst>
              <a:ext uri="{FF2B5EF4-FFF2-40B4-BE49-F238E27FC236}">
                <a16:creationId xmlns:a16="http://schemas.microsoft.com/office/drawing/2014/main" id="{68C8CFA4-FAF6-762D-B007-59BDB786FF1C}"/>
              </a:ext>
            </a:extLst>
          </p:cNvPr>
          <p:cNvSpPr/>
          <p:nvPr/>
        </p:nvSpPr>
        <p:spPr>
          <a:xfrm>
            <a:off x="8165341" y="2899988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Retail Measurement</a:t>
            </a:r>
          </a:p>
        </p:txBody>
      </p:sp>
      <p:sp>
        <p:nvSpPr>
          <p:cNvPr id="278" name="Rectangle 277">
            <a:extLst>
              <a:ext uri="{FF2B5EF4-FFF2-40B4-BE49-F238E27FC236}">
                <a16:creationId xmlns:a16="http://schemas.microsoft.com/office/drawing/2014/main" id="{77CC94B7-F452-85C6-4A94-96D97A7B49EF}"/>
              </a:ext>
            </a:extLst>
          </p:cNvPr>
          <p:cNvSpPr/>
          <p:nvPr/>
        </p:nvSpPr>
        <p:spPr>
          <a:xfrm>
            <a:off x="8165341" y="3201470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Reviews</a:t>
            </a: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FF23B3CD-3A70-8127-A51B-BF69F39F4BE7}"/>
              </a:ext>
            </a:extLst>
          </p:cNvPr>
          <p:cNvSpPr/>
          <p:nvPr/>
        </p:nvSpPr>
        <p:spPr>
          <a:xfrm>
            <a:off x="8165341" y="3502951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Sales Management</a:t>
            </a:r>
          </a:p>
        </p:txBody>
      </p:sp>
      <p:sp>
        <p:nvSpPr>
          <p:cNvPr id="280" name="Rectangle 279">
            <a:extLst>
              <a:ext uri="{FF2B5EF4-FFF2-40B4-BE49-F238E27FC236}">
                <a16:creationId xmlns:a16="http://schemas.microsoft.com/office/drawing/2014/main" id="{E3254516-FB40-3D29-6822-153BE61A6B30}"/>
              </a:ext>
            </a:extLst>
          </p:cNvPr>
          <p:cNvSpPr/>
          <p:nvPr/>
        </p:nvSpPr>
        <p:spPr>
          <a:xfrm>
            <a:off x="8165341" y="3804433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Scorecards</a:t>
            </a:r>
          </a:p>
        </p:txBody>
      </p:sp>
      <p:sp>
        <p:nvSpPr>
          <p:cNvPr id="281" name="Rectangle 280">
            <a:extLst>
              <a:ext uri="{FF2B5EF4-FFF2-40B4-BE49-F238E27FC236}">
                <a16:creationId xmlns:a16="http://schemas.microsoft.com/office/drawing/2014/main" id="{55BFD9A4-BB02-BF9A-476C-4D04E53D439F}"/>
              </a:ext>
            </a:extLst>
          </p:cNvPr>
          <p:cNvSpPr/>
          <p:nvPr/>
        </p:nvSpPr>
        <p:spPr>
          <a:xfrm>
            <a:off x="8165341" y="4105915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Segmentation</a:t>
            </a:r>
          </a:p>
        </p:txBody>
      </p:sp>
      <p:sp>
        <p:nvSpPr>
          <p:cNvPr id="282" name="Rectangle 281">
            <a:extLst>
              <a:ext uri="{FF2B5EF4-FFF2-40B4-BE49-F238E27FC236}">
                <a16:creationId xmlns:a16="http://schemas.microsoft.com/office/drawing/2014/main" id="{153860B7-1575-ADC6-3C48-FB2EB1CE9805}"/>
              </a:ext>
            </a:extLst>
          </p:cNvPr>
          <p:cNvSpPr/>
          <p:nvPr/>
        </p:nvSpPr>
        <p:spPr>
          <a:xfrm>
            <a:off x="8165341" y="4407397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Six Sigma</a:t>
            </a:r>
          </a:p>
        </p:txBody>
      </p:sp>
      <p:sp>
        <p:nvSpPr>
          <p:cNvPr id="283" name="Rectangle 282">
            <a:extLst>
              <a:ext uri="{FF2B5EF4-FFF2-40B4-BE49-F238E27FC236}">
                <a16:creationId xmlns:a16="http://schemas.microsoft.com/office/drawing/2014/main" id="{C08892E5-0CA0-8C44-03E1-6EE6FF72B404}"/>
              </a:ext>
            </a:extLst>
          </p:cNvPr>
          <p:cNvSpPr/>
          <p:nvPr/>
        </p:nvSpPr>
        <p:spPr>
          <a:xfrm>
            <a:off x="8165341" y="4708880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Socio Economic Classification</a:t>
            </a:r>
          </a:p>
        </p:txBody>
      </p:sp>
      <p:sp>
        <p:nvSpPr>
          <p:cNvPr id="284" name="Rectangle 283">
            <a:extLst>
              <a:ext uri="{FF2B5EF4-FFF2-40B4-BE49-F238E27FC236}">
                <a16:creationId xmlns:a16="http://schemas.microsoft.com/office/drawing/2014/main" id="{EE72C546-ABD8-5D12-0A95-3F1109F029A4}"/>
              </a:ext>
            </a:extLst>
          </p:cNvPr>
          <p:cNvSpPr/>
          <p:nvPr/>
        </p:nvSpPr>
        <p:spPr>
          <a:xfrm>
            <a:off x="8165341" y="5010362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Territory Design </a:t>
            </a:r>
          </a:p>
        </p:txBody>
      </p:sp>
      <p:sp>
        <p:nvSpPr>
          <p:cNvPr id="285" name="Rectangle 284">
            <a:extLst>
              <a:ext uri="{FF2B5EF4-FFF2-40B4-BE49-F238E27FC236}">
                <a16:creationId xmlns:a16="http://schemas.microsoft.com/office/drawing/2014/main" id="{823DCBF6-4530-0ED4-C2DD-150C24901CB8}"/>
              </a:ext>
            </a:extLst>
          </p:cNvPr>
          <p:cNvSpPr/>
          <p:nvPr/>
        </p:nvSpPr>
        <p:spPr>
          <a:xfrm>
            <a:off x="8165341" y="5311844"/>
            <a:ext cx="1399633" cy="301482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Trade Marketing</a:t>
            </a:r>
          </a:p>
        </p:txBody>
      </p:sp>
      <p:sp>
        <p:nvSpPr>
          <p:cNvPr id="302" name="Subtitle 2">
            <a:extLst>
              <a:ext uri="{FF2B5EF4-FFF2-40B4-BE49-F238E27FC236}">
                <a16:creationId xmlns:a16="http://schemas.microsoft.com/office/drawing/2014/main" id="{030D35E0-DDFC-BA58-820E-33210637101B}"/>
              </a:ext>
            </a:extLst>
          </p:cNvPr>
          <p:cNvSpPr txBox="1">
            <a:spLocks/>
          </p:cNvSpPr>
          <p:nvPr/>
        </p:nvSpPr>
        <p:spPr>
          <a:xfrm>
            <a:off x="2669337" y="2656912"/>
            <a:ext cx="1194582" cy="184666"/>
          </a:xfrm>
          <a:prstGeom prst="rect">
            <a:avLst/>
          </a:prstGeom>
          <a:solidFill>
            <a:schemeClr val="accent3"/>
          </a:solidFill>
        </p:spPr>
        <p:txBody>
          <a:bodyPr vert="horz" wrap="squar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54381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Lato Light" panose="020F0502020204030203" pitchFamily="34" charset="0"/>
                <a:cs typeface="Poppins" panose="00000500000000000000" pitchFamily="2" charset="0"/>
              </a:rPr>
              <a:t>Advertising </a:t>
            </a:r>
          </a:p>
        </p:txBody>
      </p:sp>
      <p:sp>
        <p:nvSpPr>
          <p:cNvPr id="404" name="Rectangle 403">
            <a:extLst>
              <a:ext uri="{FF2B5EF4-FFF2-40B4-BE49-F238E27FC236}">
                <a16:creationId xmlns:a16="http://schemas.microsoft.com/office/drawing/2014/main" id="{38E85A02-4BD6-B709-1D85-3C840385CF46}"/>
              </a:ext>
            </a:extLst>
          </p:cNvPr>
          <p:cNvSpPr/>
          <p:nvPr/>
        </p:nvSpPr>
        <p:spPr>
          <a:xfrm>
            <a:off x="2585416" y="2272945"/>
            <a:ext cx="6969550" cy="301482"/>
          </a:xfrm>
          <a:prstGeom prst="rect">
            <a:avLst/>
          </a:prstGeom>
          <a:solidFill>
            <a:srgbClr val="08204D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Types 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405" name="Rectangle 404">
            <a:extLst>
              <a:ext uri="{FF2B5EF4-FFF2-40B4-BE49-F238E27FC236}">
                <a16:creationId xmlns:a16="http://schemas.microsoft.com/office/drawing/2014/main" id="{30038924-87B0-82D9-2294-0C757E4DC68F}"/>
              </a:ext>
            </a:extLst>
          </p:cNvPr>
          <p:cNvSpPr/>
          <p:nvPr/>
        </p:nvSpPr>
        <p:spPr>
          <a:xfrm>
            <a:off x="417987" y="2046913"/>
            <a:ext cx="2045574" cy="301482"/>
          </a:xfrm>
          <a:prstGeom prst="rect">
            <a:avLst/>
          </a:prstGeom>
          <a:solidFill>
            <a:srgbClr val="08204D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Categories 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406" name="Rectangle 405">
            <a:extLst>
              <a:ext uri="{FF2B5EF4-FFF2-40B4-BE49-F238E27FC236}">
                <a16:creationId xmlns:a16="http://schemas.microsoft.com/office/drawing/2014/main" id="{6DA83EFB-1677-30B7-9A6F-789A148840B4}"/>
              </a:ext>
            </a:extLst>
          </p:cNvPr>
          <p:cNvSpPr/>
          <p:nvPr/>
        </p:nvSpPr>
        <p:spPr>
          <a:xfrm>
            <a:off x="9627908" y="2016089"/>
            <a:ext cx="2033267" cy="301482"/>
          </a:xfrm>
          <a:prstGeom prst="rect">
            <a:avLst/>
          </a:prstGeom>
          <a:solidFill>
            <a:srgbClr val="08204D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Functions 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409" name="TextBox 408">
            <a:extLst>
              <a:ext uri="{FF2B5EF4-FFF2-40B4-BE49-F238E27FC236}">
                <a16:creationId xmlns:a16="http://schemas.microsoft.com/office/drawing/2014/main" id="{33C638C9-A894-C800-D961-E361E973ECA1}"/>
              </a:ext>
            </a:extLst>
          </p:cNvPr>
          <p:cNvSpPr txBox="1"/>
          <p:nvPr/>
        </p:nvSpPr>
        <p:spPr>
          <a:xfrm>
            <a:off x="2946392" y="127618"/>
            <a:ext cx="513282" cy="27699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League Spartan" charset="0"/>
                <a:cs typeface="Poppins" pitchFamily="2" charset="77"/>
              </a:rPr>
              <a:t>2017</a:t>
            </a:r>
          </a:p>
        </p:txBody>
      </p:sp>
      <p:sp>
        <p:nvSpPr>
          <p:cNvPr id="410" name="TextBox 409">
            <a:extLst>
              <a:ext uri="{FF2B5EF4-FFF2-40B4-BE49-F238E27FC236}">
                <a16:creationId xmlns:a16="http://schemas.microsoft.com/office/drawing/2014/main" id="{50F1A73F-4CED-C9B6-896C-FB7BA8A781DC}"/>
              </a:ext>
            </a:extLst>
          </p:cNvPr>
          <p:cNvSpPr txBox="1"/>
          <p:nvPr/>
        </p:nvSpPr>
        <p:spPr>
          <a:xfrm>
            <a:off x="4337208" y="127618"/>
            <a:ext cx="530915" cy="276999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League Spartan" charset="0"/>
                <a:cs typeface="Poppins" pitchFamily="2" charset="77"/>
              </a:rPr>
              <a:t>2018</a:t>
            </a:r>
          </a:p>
        </p:txBody>
      </p:sp>
      <p:sp>
        <p:nvSpPr>
          <p:cNvPr id="417" name="Rectangle 416">
            <a:extLst>
              <a:ext uri="{FF2B5EF4-FFF2-40B4-BE49-F238E27FC236}">
                <a16:creationId xmlns:a16="http://schemas.microsoft.com/office/drawing/2014/main" id="{955C6E00-EA50-E7AD-9C3A-C92755634899}"/>
              </a:ext>
            </a:extLst>
          </p:cNvPr>
          <p:cNvSpPr/>
          <p:nvPr/>
        </p:nvSpPr>
        <p:spPr>
          <a:xfrm>
            <a:off x="419439" y="2969008"/>
            <a:ext cx="2052463" cy="301482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Assessments</a:t>
            </a:r>
          </a:p>
        </p:txBody>
      </p:sp>
      <p:sp>
        <p:nvSpPr>
          <p:cNvPr id="420" name="Rectangle 419">
            <a:extLst>
              <a:ext uri="{FF2B5EF4-FFF2-40B4-BE49-F238E27FC236}">
                <a16:creationId xmlns:a16="http://schemas.microsoft.com/office/drawing/2014/main" id="{F6E1AD4D-0970-C6EB-7EC4-B918A0EB7756}"/>
              </a:ext>
            </a:extLst>
          </p:cNvPr>
          <p:cNvSpPr/>
          <p:nvPr/>
        </p:nvSpPr>
        <p:spPr>
          <a:xfrm>
            <a:off x="9633918" y="5620450"/>
            <a:ext cx="2052463" cy="301482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Trade Marketing</a:t>
            </a:r>
          </a:p>
        </p:txBody>
      </p:sp>
      <p:sp>
        <p:nvSpPr>
          <p:cNvPr id="421" name="Rectangle 420">
            <a:extLst>
              <a:ext uri="{FF2B5EF4-FFF2-40B4-BE49-F238E27FC236}">
                <a16:creationId xmlns:a16="http://schemas.microsoft.com/office/drawing/2014/main" id="{F577D6C5-F246-88B1-E448-1919303F761C}"/>
              </a:ext>
            </a:extLst>
          </p:cNvPr>
          <p:cNvSpPr/>
          <p:nvPr/>
        </p:nvSpPr>
        <p:spPr>
          <a:xfrm>
            <a:off x="9628969" y="2319392"/>
            <a:ext cx="2052463" cy="301482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422" name="Rectangle 421">
            <a:extLst>
              <a:ext uri="{FF2B5EF4-FFF2-40B4-BE49-F238E27FC236}">
                <a16:creationId xmlns:a16="http://schemas.microsoft.com/office/drawing/2014/main" id="{2CC07D5F-B041-ADE0-C9DC-7791AFC762D6}"/>
              </a:ext>
            </a:extLst>
          </p:cNvPr>
          <p:cNvSpPr/>
          <p:nvPr/>
        </p:nvSpPr>
        <p:spPr>
          <a:xfrm>
            <a:off x="9628969" y="2620874"/>
            <a:ext cx="2052463" cy="301482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423" name="Rectangle 422">
            <a:extLst>
              <a:ext uri="{FF2B5EF4-FFF2-40B4-BE49-F238E27FC236}">
                <a16:creationId xmlns:a16="http://schemas.microsoft.com/office/drawing/2014/main" id="{A1CE1A52-01B4-1DBC-CCBD-9E28EF996FC6}"/>
              </a:ext>
            </a:extLst>
          </p:cNvPr>
          <p:cNvSpPr/>
          <p:nvPr/>
        </p:nvSpPr>
        <p:spPr>
          <a:xfrm>
            <a:off x="9628969" y="2922356"/>
            <a:ext cx="2052463" cy="301482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424" name="Rectangle 423">
            <a:extLst>
              <a:ext uri="{FF2B5EF4-FFF2-40B4-BE49-F238E27FC236}">
                <a16:creationId xmlns:a16="http://schemas.microsoft.com/office/drawing/2014/main" id="{E2BD4BF1-4F64-6A74-080F-D1F9E17BEC5E}"/>
              </a:ext>
            </a:extLst>
          </p:cNvPr>
          <p:cNvSpPr/>
          <p:nvPr/>
        </p:nvSpPr>
        <p:spPr>
          <a:xfrm>
            <a:off x="9628969" y="3223837"/>
            <a:ext cx="2052463" cy="301482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425" name="Rectangle 424">
            <a:extLst>
              <a:ext uri="{FF2B5EF4-FFF2-40B4-BE49-F238E27FC236}">
                <a16:creationId xmlns:a16="http://schemas.microsoft.com/office/drawing/2014/main" id="{4958C8D6-9964-061B-2382-76332C331A44}"/>
              </a:ext>
            </a:extLst>
          </p:cNvPr>
          <p:cNvSpPr/>
          <p:nvPr/>
        </p:nvSpPr>
        <p:spPr>
          <a:xfrm>
            <a:off x="9628969" y="3525319"/>
            <a:ext cx="2052463" cy="301482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426" name="Rectangle 425">
            <a:extLst>
              <a:ext uri="{FF2B5EF4-FFF2-40B4-BE49-F238E27FC236}">
                <a16:creationId xmlns:a16="http://schemas.microsoft.com/office/drawing/2014/main" id="{D3254E9D-7D83-47B7-7D60-30841516F704}"/>
              </a:ext>
            </a:extLst>
          </p:cNvPr>
          <p:cNvSpPr/>
          <p:nvPr/>
        </p:nvSpPr>
        <p:spPr>
          <a:xfrm>
            <a:off x="9628969" y="3826801"/>
            <a:ext cx="2052463" cy="301482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427" name="Rectangle 426">
            <a:extLst>
              <a:ext uri="{FF2B5EF4-FFF2-40B4-BE49-F238E27FC236}">
                <a16:creationId xmlns:a16="http://schemas.microsoft.com/office/drawing/2014/main" id="{FA1C6158-D629-3ACC-182B-702DA5CEB620}"/>
              </a:ext>
            </a:extLst>
          </p:cNvPr>
          <p:cNvSpPr/>
          <p:nvPr/>
        </p:nvSpPr>
        <p:spPr>
          <a:xfrm>
            <a:off x="9628969" y="4128283"/>
            <a:ext cx="2052463" cy="301482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428" name="Rectangle 427">
            <a:extLst>
              <a:ext uri="{FF2B5EF4-FFF2-40B4-BE49-F238E27FC236}">
                <a16:creationId xmlns:a16="http://schemas.microsoft.com/office/drawing/2014/main" id="{B34B299C-995C-A860-A54D-95FCF8043490}"/>
              </a:ext>
            </a:extLst>
          </p:cNvPr>
          <p:cNvSpPr/>
          <p:nvPr/>
        </p:nvSpPr>
        <p:spPr>
          <a:xfrm>
            <a:off x="9628969" y="4429766"/>
            <a:ext cx="2052463" cy="301482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429" name="Rectangle 428">
            <a:extLst>
              <a:ext uri="{FF2B5EF4-FFF2-40B4-BE49-F238E27FC236}">
                <a16:creationId xmlns:a16="http://schemas.microsoft.com/office/drawing/2014/main" id="{2910CB2E-1FA3-4D66-D51A-76660BA30707}"/>
              </a:ext>
            </a:extLst>
          </p:cNvPr>
          <p:cNvSpPr/>
          <p:nvPr/>
        </p:nvSpPr>
        <p:spPr>
          <a:xfrm>
            <a:off x="9628969" y="4731248"/>
            <a:ext cx="2052463" cy="301482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430" name="Rectangle 429">
            <a:extLst>
              <a:ext uri="{FF2B5EF4-FFF2-40B4-BE49-F238E27FC236}">
                <a16:creationId xmlns:a16="http://schemas.microsoft.com/office/drawing/2014/main" id="{0A2DA5BF-8ABD-B345-3F05-7E94DF000070}"/>
              </a:ext>
            </a:extLst>
          </p:cNvPr>
          <p:cNvSpPr/>
          <p:nvPr/>
        </p:nvSpPr>
        <p:spPr>
          <a:xfrm>
            <a:off x="9628969" y="5032730"/>
            <a:ext cx="2052463" cy="301482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431" name="TextBox 430">
            <a:extLst>
              <a:ext uri="{FF2B5EF4-FFF2-40B4-BE49-F238E27FC236}">
                <a16:creationId xmlns:a16="http://schemas.microsoft.com/office/drawing/2014/main" id="{A2EFB756-A063-8C57-88A3-2C9328881F91}"/>
              </a:ext>
            </a:extLst>
          </p:cNvPr>
          <p:cNvSpPr txBox="1"/>
          <p:nvPr/>
        </p:nvSpPr>
        <p:spPr>
          <a:xfrm>
            <a:off x="9908048" y="2354717"/>
            <a:ext cx="1494319" cy="230832"/>
          </a:xfrm>
          <a:prstGeom prst="rect">
            <a:avLst/>
          </a:prstGeom>
          <a:solidFill>
            <a:schemeClr val="accent2"/>
          </a:solidFill>
        </p:spPr>
        <p:txBody>
          <a:bodyPr wrap="none" rtlCol="0" anchor="ctr" anchorCtr="0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League Spartan" charset="0"/>
                <a:cs typeface="Poppins" panose="00000500000000000000" pitchFamily="2" charset="0"/>
              </a:rPr>
              <a:t>Business Development</a:t>
            </a:r>
          </a:p>
        </p:txBody>
      </p:sp>
      <p:sp>
        <p:nvSpPr>
          <p:cNvPr id="432" name="TextBox 431">
            <a:extLst>
              <a:ext uri="{FF2B5EF4-FFF2-40B4-BE49-F238E27FC236}">
                <a16:creationId xmlns:a16="http://schemas.microsoft.com/office/drawing/2014/main" id="{BF086764-A61E-1766-C1DE-CF981DEE0440}"/>
              </a:ext>
            </a:extLst>
          </p:cNvPr>
          <p:cNvSpPr txBox="1"/>
          <p:nvPr/>
        </p:nvSpPr>
        <p:spPr>
          <a:xfrm>
            <a:off x="9882397" y="2656199"/>
            <a:ext cx="1545616" cy="230832"/>
          </a:xfrm>
          <a:prstGeom prst="rect">
            <a:avLst/>
          </a:prstGeom>
          <a:solidFill>
            <a:schemeClr val="accent2"/>
          </a:solidFill>
        </p:spPr>
        <p:txBody>
          <a:bodyPr wrap="none" rtlCol="0" anchor="ctr" anchorCtr="0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League Spartan" charset="0"/>
                <a:cs typeface="Poppins" panose="00000500000000000000" pitchFamily="2" charset="0"/>
              </a:rPr>
              <a:t>Category Management</a:t>
            </a:r>
          </a:p>
        </p:txBody>
      </p:sp>
      <p:sp>
        <p:nvSpPr>
          <p:cNvPr id="433" name="TextBox 432">
            <a:extLst>
              <a:ext uri="{FF2B5EF4-FFF2-40B4-BE49-F238E27FC236}">
                <a16:creationId xmlns:a16="http://schemas.microsoft.com/office/drawing/2014/main" id="{9E0F0733-B49C-7A85-E078-2B457AFEB422}"/>
              </a:ext>
            </a:extLst>
          </p:cNvPr>
          <p:cNvSpPr txBox="1"/>
          <p:nvPr/>
        </p:nvSpPr>
        <p:spPr>
          <a:xfrm>
            <a:off x="9893613" y="2957681"/>
            <a:ext cx="1523174" cy="230832"/>
          </a:xfrm>
          <a:prstGeom prst="rect">
            <a:avLst/>
          </a:prstGeom>
          <a:solidFill>
            <a:schemeClr val="accent2"/>
          </a:solidFill>
        </p:spPr>
        <p:txBody>
          <a:bodyPr wrap="none" rtlCol="0" anchor="ctr" anchorCtr="0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League Spartan" charset="0"/>
                <a:cs typeface="Poppins" panose="00000500000000000000" pitchFamily="2" charset="0"/>
              </a:rPr>
              <a:t>Channel Management </a:t>
            </a:r>
          </a:p>
        </p:txBody>
      </p:sp>
      <p:sp>
        <p:nvSpPr>
          <p:cNvPr id="434" name="TextBox 433">
            <a:extLst>
              <a:ext uri="{FF2B5EF4-FFF2-40B4-BE49-F238E27FC236}">
                <a16:creationId xmlns:a16="http://schemas.microsoft.com/office/drawing/2014/main" id="{BD130895-19F3-B86D-EF3D-AB1971BF7C47}"/>
              </a:ext>
            </a:extLst>
          </p:cNvPr>
          <p:cNvSpPr txBox="1"/>
          <p:nvPr/>
        </p:nvSpPr>
        <p:spPr>
          <a:xfrm>
            <a:off x="10219830" y="3259162"/>
            <a:ext cx="870751" cy="230832"/>
          </a:xfrm>
          <a:prstGeom prst="rect">
            <a:avLst/>
          </a:prstGeom>
          <a:solidFill>
            <a:schemeClr val="accent2"/>
          </a:solidFill>
        </p:spPr>
        <p:txBody>
          <a:bodyPr wrap="none" rtlCol="0" anchor="ctr" anchorCtr="0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League Spartan" charset="0"/>
                <a:cs typeface="Poppins" panose="00000500000000000000" pitchFamily="2" charset="0"/>
              </a:rPr>
              <a:t>Distribution </a:t>
            </a:r>
          </a:p>
        </p:txBody>
      </p:sp>
      <p:sp>
        <p:nvSpPr>
          <p:cNvPr id="435" name="TextBox 434">
            <a:extLst>
              <a:ext uri="{FF2B5EF4-FFF2-40B4-BE49-F238E27FC236}">
                <a16:creationId xmlns:a16="http://schemas.microsoft.com/office/drawing/2014/main" id="{5FF7522B-9FAA-7ED1-8FF8-CD351E501FCF}"/>
              </a:ext>
            </a:extLst>
          </p:cNvPr>
          <p:cNvSpPr txBox="1"/>
          <p:nvPr/>
        </p:nvSpPr>
        <p:spPr>
          <a:xfrm>
            <a:off x="9855950" y="3560644"/>
            <a:ext cx="1598515" cy="230832"/>
          </a:xfrm>
          <a:prstGeom prst="rect">
            <a:avLst/>
          </a:prstGeom>
          <a:solidFill>
            <a:schemeClr val="accent2"/>
          </a:solidFill>
        </p:spPr>
        <p:txBody>
          <a:bodyPr wrap="none" rtlCol="0" anchor="ctr" anchorCtr="0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League Spartan" charset="0"/>
                <a:cs typeface="Poppins" panose="00000500000000000000" pitchFamily="2" charset="0"/>
              </a:rPr>
              <a:t>Distributor Management</a:t>
            </a:r>
          </a:p>
        </p:txBody>
      </p:sp>
      <p:sp>
        <p:nvSpPr>
          <p:cNvPr id="436" name="TextBox 435">
            <a:extLst>
              <a:ext uri="{FF2B5EF4-FFF2-40B4-BE49-F238E27FC236}">
                <a16:creationId xmlns:a16="http://schemas.microsoft.com/office/drawing/2014/main" id="{BFEC5A55-179A-E1C1-5436-4DEFDF9CD0F4}"/>
              </a:ext>
            </a:extLst>
          </p:cNvPr>
          <p:cNvSpPr txBox="1"/>
          <p:nvPr/>
        </p:nvSpPr>
        <p:spPr>
          <a:xfrm>
            <a:off x="9924879" y="3862127"/>
            <a:ext cx="1460656" cy="230832"/>
          </a:xfrm>
          <a:prstGeom prst="rect">
            <a:avLst/>
          </a:prstGeom>
          <a:solidFill>
            <a:schemeClr val="accent2"/>
          </a:solidFill>
        </p:spPr>
        <p:txBody>
          <a:bodyPr wrap="none" rtlCol="0" anchor="ctr" anchorCtr="0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League Spartan" charset="0"/>
                <a:cs typeface="Poppins" panose="00000500000000000000" pitchFamily="2" charset="0"/>
              </a:rPr>
              <a:t>General Management</a:t>
            </a:r>
          </a:p>
        </p:txBody>
      </p:sp>
      <p:sp>
        <p:nvSpPr>
          <p:cNvPr id="437" name="TextBox 436">
            <a:extLst>
              <a:ext uri="{FF2B5EF4-FFF2-40B4-BE49-F238E27FC236}">
                <a16:creationId xmlns:a16="http://schemas.microsoft.com/office/drawing/2014/main" id="{1C5D2085-6F72-FBE1-7423-7E864138A668}"/>
              </a:ext>
            </a:extLst>
          </p:cNvPr>
          <p:cNvSpPr txBox="1"/>
          <p:nvPr/>
        </p:nvSpPr>
        <p:spPr>
          <a:xfrm>
            <a:off x="9794233" y="4165168"/>
            <a:ext cx="1721945" cy="230832"/>
          </a:xfrm>
          <a:prstGeom prst="rect">
            <a:avLst/>
          </a:prstGeom>
          <a:solidFill>
            <a:schemeClr val="accent2"/>
          </a:solidFill>
        </p:spPr>
        <p:txBody>
          <a:bodyPr wrap="none" rtlCol="0" anchor="ctr" anchorCtr="0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League Spartan" charset="0"/>
                <a:cs typeface="Poppins" panose="00000500000000000000" pitchFamily="2" charset="0"/>
              </a:rPr>
              <a:t>Key Account Management</a:t>
            </a:r>
          </a:p>
        </p:txBody>
      </p:sp>
      <p:sp>
        <p:nvSpPr>
          <p:cNvPr id="438" name="TextBox 437">
            <a:extLst>
              <a:ext uri="{FF2B5EF4-FFF2-40B4-BE49-F238E27FC236}">
                <a16:creationId xmlns:a16="http://schemas.microsoft.com/office/drawing/2014/main" id="{98B3BC0C-716C-8AAF-1160-2B671974C2F7}"/>
              </a:ext>
            </a:extLst>
          </p:cNvPr>
          <p:cNvSpPr txBox="1"/>
          <p:nvPr/>
        </p:nvSpPr>
        <p:spPr>
          <a:xfrm>
            <a:off x="10275132" y="4465090"/>
            <a:ext cx="760144" cy="230832"/>
          </a:xfrm>
          <a:prstGeom prst="rect">
            <a:avLst/>
          </a:prstGeom>
          <a:solidFill>
            <a:schemeClr val="accent2"/>
          </a:solidFill>
        </p:spPr>
        <p:txBody>
          <a:bodyPr wrap="none" rtlCol="0" anchor="ctr" anchorCtr="0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League Spartan" charset="0"/>
                <a:cs typeface="Poppins" panose="00000500000000000000" pitchFamily="2" charset="0"/>
              </a:rPr>
              <a:t>Marketing</a:t>
            </a:r>
          </a:p>
        </p:txBody>
      </p:sp>
      <p:sp>
        <p:nvSpPr>
          <p:cNvPr id="439" name="TextBox 438">
            <a:extLst>
              <a:ext uri="{FF2B5EF4-FFF2-40B4-BE49-F238E27FC236}">
                <a16:creationId xmlns:a16="http://schemas.microsoft.com/office/drawing/2014/main" id="{849FFBEC-3223-322E-74E8-4C8ECA703AF7}"/>
              </a:ext>
            </a:extLst>
          </p:cNvPr>
          <p:cNvSpPr txBox="1"/>
          <p:nvPr/>
        </p:nvSpPr>
        <p:spPr>
          <a:xfrm>
            <a:off x="9938504" y="4766573"/>
            <a:ext cx="1433406" cy="230832"/>
          </a:xfrm>
          <a:prstGeom prst="rect">
            <a:avLst/>
          </a:prstGeom>
          <a:solidFill>
            <a:schemeClr val="accent2"/>
          </a:solidFill>
        </p:spPr>
        <p:txBody>
          <a:bodyPr wrap="none" rtlCol="0" anchor="ctr" anchorCtr="0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League Spartan" charset="0"/>
                <a:cs typeface="Poppins" panose="00000500000000000000" pitchFamily="2" charset="0"/>
              </a:rPr>
              <a:t>Marketing Operations</a:t>
            </a:r>
          </a:p>
        </p:txBody>
      </p:sp>
      <p:sp>
        <p:nvSpPr>
          <p:cNvPr id="440" name="TextBox 439">
            <a:extLst>
              <a:ext uri="{FF2B5EF4-FFF2-40B4-BE49-F238E27FC236}">
                <a16:creationId xmlns:a16="http://schemas.microsoft.com/office/drawing/2014/main" id="{F68FC809-14F5-0DF5-0067-DF938CC217FC}"/>
              </a:ext>
            </a:extLst>
          </p:cNvPr>
          <p:cNvSpPr txBox="1"/>
          <p:nvPr/>
        </p:nvSpPr>
        <p:spPr>
          <a:xfrm>
            <a:off x="10031042" y="5068055"/>
            <a:ext cx="1309974" cy="230832"/>
          </a:xfrm>
          <a:prstGeom prst="rect">
            <a:avLst/>
          </a:prstGeom>
          <a:solidFill>
            <a:schemeClr val="accent2"/>
          </a:solidFill>
        </p:spPr>
        <p:txBody>
          <a:bodyPr wrap="none" rtlCol="0" anchor="ctr" anchorCtr="0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League Spartan" charset="0"/>
                <a:cs typeface="Poppins" panose="00000500000000000000" pitchFamily="2" charset="0"/>
              </a:rPr>
              <a:t>Sales Management</a:t>
            </a:r>
          </a:p>
        </p:txBody>
      </p:sp>
      <p:sp>
        <p:nvSpPr>
          <p:cNvPr id="442" name="Rectangle 441">
            <a:extLst>
              <a:ext uri="{FF2B5EF4-FFF2-40B4-BE49-F238E27FC236}">
                <a16:creationId xmlns:a16="http://schemas.microsoft.com/office/drawing/2014/main" id="{36EB569B-E96B-B008-C288-73AB6CCBA0B7}"/>
              </a:ext>
            </a:extLst>
          </p:cNvPr>
          <p:cNvSpPr/>
          <p:nvPr/>
        </p:nvSpPr>
        <p:spPr>
          <a:xfrm>
            <a:off x="9627257" y="5336629"/>
            <a:ext cx="2052463" cy="301482"/>
          </a:xfrm>
          <a:prstGeom prst="rect">
            <a:avLst/>
          </a:prstGeom>
          <a:solidFill>
            <a:schemeClr val="accent2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Shopper Marketing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3064A203-FB6F-7659-079D-6BCAC94CF1C7}"/>
              </a:ext>
            </a:extLst>
          </p:cNvPr>
          <p:cNvSpPr txBox="1"/>
          <p:nvPr/>
        </p:nvSpPr>
        <p:spPr>
          <a:xfrm>
            <a:off x="295246" y="458275"/>
            <a:ext cx="11652986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284B8D"/>
                </a:solidFill>
                <a:effectLst/>
                <a:uLnTx/>
                <a:uFillTx/>
                <a:latin typeface="-apple-system"/>
                <a:ea typeface="+mn-ea"/>
                <a:cs typeface="+mn-cs"/>
              </a:rPr>
              <a:t>100’s of tools grouped in 12 categories, 50 tool types and 12 business functions in 1 place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284B8D"/>
                </a:solidFill>
                <a:effectLst/>
                <a:uLnTx/>
                <a:uFillTx/>
                <a:latin typeface="-apple-system"/>
                <a:ea typeface="+mn-ea"/>
                <a:cs typeface="+mn-cs"/>
              </a:rPr>
              <a:t>get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A6BF0A"/>
                </a:solidFill>
                <a:effectLst/>
                <a:uLnTx/>
                <a:uFillTx/>
                <a:latin typeface="-apple-system"/>
                <a:ea typeface="+mn-ea"/>
                <a:cs typeface="+mn-cs"/>
              </a:rPr>
              <a:t>10X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284B8D"/>
                </a:solidFill>
                <a:effectLst/>
                <a:uLnTx/>
                <a:uFillTx/>
                <a:latin typeface="-apple-system"/>
                <a:ea typeface="+mn-ea"/>
                <a:cs typeface="+mn-cs"/>
              </a:rPr>
              <a:t> productive now !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70431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FFE3B73-F732-4A02-8204-0F7346674109}"/>
              </a:ext>
            </a:extLst>
          </p:cNvPr>
          <p:cNvSpPr/>
          <p:nvPr/>
        </p:nvSpPr>
        <p:spPr>
          <a:xfrm>
            <a:off x="0" y="2079171"/>
            <a:ext cx="12192000" cy="202474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ED2E605-02B4-4CFA-8C8A-EA27AB990E7D}"/>
              </a:ext>
            </a:extLst>
          </p:cNvPr>
          <p:cNvSpPr txBox="1"/>
          <p:nvPr/>
        </p:nvSpPr>
        <p:spPr>
          <a:xfrm>
            <a:off x="1733649" y="2421030"/>
            <a:ext cx="8500382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b="1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Strategy</a:t>
            </a:r>
            <a:r>
              <a:rPr lang="en-GB" sz="140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 is, simply, the art and science of options. It is a matter of understanding current options, creating new options, and choosing among them. 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b="1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Strategic</a:t>
            </a:r>
            <a:r>
              <a:rPr lang="en-GB" sz="140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 decision-making involves thinking about the long-term course one will take through a broad competitive landscape. 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b="1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Strategy</a:t>
            </a:r>
            <a:r>
              <a:rPr lang="en-GB" sz="1400" b="0" i="0" dirty="0">
                <a:solidFill>
                  <a:srgbClr val="202124"/>
                </a:solidFill>
                <a:effectLst/>
                <a:latin typeface="arial" panose="020B0604020202020204" pitchFamily="34" charset="0"/>
              </a:rPr>
              <a:t> provides the direction for operations.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212121"/>
              </a:solidFill>
              <a:effectLst/>
              <a:uLnTx/>
              <a:uFillTx/>
              <a:latin typeface="Plato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F1C1FD8-00A7-4816-AB39-5D940CB30F01}"/>
              </a:ext>
            </a:extLst>
          </p:cNvPr>
          <p:cNvSpPr txBox="1"/>
          <p:nvPr/>
        </p:nvSpPr>
        <p:spPr>
          <a:xfrm>
            <a:off x="1733649" y="3591698"/>
            <a:ext cx="18853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Sun Tzu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15E27D4-6BB9-4E10-80DB-F618CEDE8109}"/>
              </a:ext>
            </a:extLst>
          </p:cNvPr>
          <p:cNvSpPr txBox="1"/>
          <p:nvPr/>
        </p:nvSpPr>
        <p:spPr>
          <a:xfrm>
            <a:off x="1" y="89951"/>
            <a:ext cx="5693790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435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High Level Strategy Map </a:t>
            </a:r>
            <a:endParaRPr kumimoji="0" lang="en-US" sz="4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21675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 5">
            <a:extLst>
              <a:ext uri="{FF2B5EF4-FFF2-40B4-BE49-F238E27FC236}">
                <a16:creationId xmlns:a16="http://schemas.microsoft.com/office/drawing/2014/main" id="{0FABC501-C69B-423A-9A66-F3FB88F796D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8344033"/>
              </p:ext>
            </p:extLst>
          </p:nvPr>
        </p:nvGraphicFramePr>
        <p:xfrm>
          <a:off x="345494" y="965305"/>
          <a:ext cx="11376606" cy="5075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376606">
                  <a:extLst>
                    <a:ext uri="{9D8B030D-6E8A-4147-A177-3AD203B41FA5}">
                      <a16:colId xmlns:a16="http://schemas.microsoft.com/office/drawing/2014/main" val="2184548553"/>
                    </a:ext>
                  </a:extLst>
                </a:gridCol>
              </a:tblGrid>
              <a:tr h="507563">
                <a:tc>
                  <a:txBody>
                    <a:bodyPr/>
                    <a:lstStyle/>
                    <a:p>
                      <a:pPr algn="l"/>
                      <a:r>
                        <a:rPr lang="en-US" sz="1200" kern="0" dirty="0"/>
                        <a:t>Mission Statement: </a:t>
                      </a:r>
                      <a:r>
                        <a:rPr lang="en-GB" sz="1200" b="0" kern="0" dirty="0"/>
                        <a:t>To create the most compelling car company of the 21st century by driving the world’s transition to electric vehicles </a:t>
                      </a:r>
                      <a:br>
                        <a:rPr lang="en-US" sz="1200" b="0" kern="0" dirty="0"/>
                      </a:br>
                      <a:r>
                        <a:rPr lang="en-US" sz="1200" kern="0" dirty="0"/>
                        <a:t>Vision Statement: </a:t>
                      </a:r>
                      <a:r>
                        <a:rPr lang="en-GB" sz="1200" b="0" kern="0" dirty="0"/>
                        <a:t>To accelerate the world’s transition to sustainable energy (Example from Tesla)</a:t>
                      </a:r>
                      <a:endParaRPr lang="en-GB" sz="105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091B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1899714"/>
                  </a:ext>
                </a:extLst>
              </a:tr>
            </a:tbl>
          </a:graphicData>
        </a:graphic>
      </p:graphicFrame>
      <p:graphicFrame>
        <p:nvGraphicFramePr>
          <p:cNvPr id="9" name="Table 5">
            <a:extLst>
              <a:ext uri="{FF2B5EF4-FFF2-40B4-BE49-F238E27FC236}">
                <a16:creationId xmlns:a16="http://schemas.microsoft.com/office/drawing/2014/main" id="{54C95F76-4806-4327-A0B9-863586AD4B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0272108"/>
              </p:ext>
            </p:extLst>
          </p:nvPr>
        </p:nvGraphicFramePr>
        <p:xfrm>
          <a:off x="358193" y="1547712"/>
          <a:ext cx="11376606" cy="4968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26206">
                  <a:extLst>
                    <a:ext uri="{9D8B030D-6E8A-4147-A177-3AD203B41FA5}">
                      <a16:colId xmlns:a16="http://schemas.microsoft.com/office/drawing/2014/main" val="2184548553"/>
                    </a:ext>
                  </a:extLst>
                </a:gridCol>
                <a:gridCol w="2089583">
                  <a:extLst>
                    <a:ext uri="{9D8B030D-6E8A-4147-A177-3AD203B41FA5}">
                      <a16:colId xmlns:a16="http://schemas.microsoft.com/office/drawing/2014/main" val="1738853937"/>
                    </a:ext>
                  </a:extLst>
                </a:gridCol>
                <a:gridCol w="1865204">
                  <a:extLst>
                    <a:ext uri="{9D8B030D-6E8A-4147-A177-3AD203B41FA5}">
                      <a16:colId xmlns:a16="http://schemas.microsoft.com/office/drawing/2014/main" val="2994182438"/>
                    </a:ext>
                  </a:extLst>
                </a:gridCol>
                <a:gridCol w="1865205">
                  <a:extLst>
                    <a:ext uri="{9D8B030D-6E8A-4147-A177-3AD203B41FA5}">
                      <a16:colId xmlns:a16="http://schemas.microsoft.com/office/drawing/2014/main" val="2337464591"/>
                    </a:ext>
                  </a:extLst>
                </a:gridCol>
                <a:gridCol w="1865204">
                  <a:extLst>
                    <a:ext uri="{9D8B030D-6E8A-4147-A177-3AD203B41FA5}">
                      <a16:colId xmlns:a16="http://schemas.microsoft.com/office/drawing/2014/main" val="2645223862"/>
                    </a:ext>
                  </a:extLst>
                </a:gridCol>
                <a:gridCol w="1865204">
                  <a:extLst>
                    <a:ext uri="{9D8B030D-6E8A-4147-A177-3AD203B41FA5}">
                      <a16:colId xmlns:a16="http://schemas.microsoft.com/office/drawing/2014/main" val="1299096974"/>
                    </a:ext>
                  </a:extLst>
                </a:gridCol>
              </a:tblGrid>
              <a:tr h="46800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>
                          <a:solidFill>
                            <a:schemeClr val="bg1"/>
                          </a:solidFill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Functional area</a:t>
                      </a:r>
                    </a:p>
                  </a:txBody>
                  <a:tcPr>
                    <a:solidFill>
                      <a:srgbClr val="0091B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>
                          <a:solidFill>
                            <a:schemeClr val="bg1"/>
                          </a:solidFill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Objective </a:t>
                      </a:r>
                    </a:p>
                  </a:txBody>
                  <a:tcPr>
                    <a:solidFill>
                      <a:srgbClr val="0091B5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kern="120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High level strategic objectives </a:t>
                      </a:r>
                    </a:p>
                  </a:txBody>
                  <a:tcPr>
                    <a:solidFill>
                      <a:srgbClr val="0091B5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800" b="0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800" b="0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800" b="0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835212"/>
                  </a:ext>
                </a:extLst>
              </a:tr>
              <a:tr h="90000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bg1"/>
                          </a:solidFill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Channel</a:t>
                      </a:r>
                    </a:p>
                  </a:txBody>
                  <a:tcPr anchor="ctr">
                    <a:solidFill>
                      <a:srgbClr val="0091B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0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0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0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3148595"/>
                  </a:ext>
                </a:extLst>
              </a:tr>
              <a:tr h="9000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400" b="1" kern="1200" dirty="0">
                          <a:solidFill>
                            <a:schemeClr val="bg1"/>
                          </a:solidFill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Account Management </a:t>
                      </a:r>
                    </a:p>
                  </a:txBody>
                  <a:tcPr anchor="ctr">
                    <a:solidFill>
                      <a:srgbClr val="0091B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dirty="0"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dirty="0"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dirty="0"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1756867"/>
                  </a:ext>
                </a:extLst>
              </a:tr>
              <a:tr h="9000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400" b="1" kern="1200" dirty="0">
                          <a:solidFill>
                            <a:schemeClr val="bg1"/>
                          </a:solidFill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Distribution</a:t>
                      </a:r>
                    </a:p>
                  </a:txBody>
                  <a:tcPr anchor="ctr">
                    <a:solidFill>
                      <a:srgbClr val="0091B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4081402"/>
                  </a:ext>
                </a:extLst>
              </a:tr>
              <a:tr h="9000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400" b="1" kern="1200" dirty="0">
                          <a:solidFill>
                            <a:schemeClr val="bg1"/>
                          </a:solidFill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Market Share</a:t>
                      </a:r>
                    </a:p>
                  </a:txBody>
                  <a:tcPr anchor="ctr">
                    <a:solidFill>
                      <a:srgbClr val="0091B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374337"/>
                  </a:ext>
                </a:extLst>
              </a:tr>
              <a:tr h="9000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400" b="1" kern="1200" dirty="0">
                          <a:solidFill>
                            <a:schemeClr val="bg1"/>
                          </a:solidFill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OTIF</a:t>
                      </a:r>
                    </a:p>
                  </a:txBody>
                  <a:tcPr anchor="ctr">
                    <a:solidFill>
                      <a:srgbClr val="0091B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6081591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961C1A6E-1555-4066-AC58-A7A5A042833C}"/>
              </a:ext>
            </a:extLst>
          </p:cNvPr>
          <p:cNvSpPr txBox="1"/>
          <p:nvPr/>
        </p:nvSpPr>
        <p:spPr>
          <a:xfrm>
            <a:off x="9824097" y="233416"/>
            <a:ext cx="22733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400" b="1"/>
            </a:lvl1pPr>
          </a:lstStyle>
          <a:p>
            <a:pPr algn="r"/>
            <a:r>
              <a:rPr lang="en-GB" sz="2000" dirty="0">
                <a:latin typeface="Poppins" panose="00000500000000000000" pitchFamily="2" charset="0"/>
                <a:ea typeface="Lato Light" panose="020F0502020204030203" pitchFamily="34" charset="0"/>
                <a:cs typeface="Poppins" panose="00000500000000000000" pitchFamily="2" charset="0"/>
              </a:rPr>
              <a:t>Sales Function 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5024217B-D13C-4221-9671-8B2032894A6B}"/>
              </a:ext>
            </a:extLst>
          </p:cNvPr>
          <p:cNvSpPr/>
          <p:nvPr/>
        </p:nvSpPr>
        <p:spPr>
          <a:xfrm>
            <a:off x="2552700" y="2127734"/>
            <a:ext cx="1473200" cy="63500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Increase coverage by 50%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34E3C12D-4213-4A5C-B132-635608279468}"/>
              </a:ext>
            </a:extLst>
          </p:cNvPr>
          <p:cNvSpPr/>
          <p:nvPr/>
        </p:nvSpPr>
        <p:spPr>
          <a:xfrm>
            <a:off x="2552700" y="2993565"/>
            <a:ext cx="1473200" cy="63500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Increase coverage by 50%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17DBA1D8-9912-436B-AB1C-80EA3C008981}"/>
              </a:ext>
            </a:extLst>
          </p:cNvPr>
          <p:cNvSpPr/>
          <p:nvPr/>
        </p:nvSpPr>
        <p:spPr>
          <a:xfrm>
            <a:off x="2552700" y="3892067"/>
            <a:ext cx="1473200" cy="63500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Increase coverage by 50%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19A80632-94A0-4DA9-932E-071B6DD854B8}"/>
              </a:ext>
            </a:extLst>
          </p:cNvPr>
          <p:cNvSpPr/>
          <p:nvPr/>
        </p:nvSpPr>
        <p:spPr>
          <a:xfrm>
            <a:off x="6400799" y="2127734"/>
            <a:ext cx="1473200" cy="63500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Increase coverage by 50%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76753DCD-A64F-43F9-8DD3-CC384C254B3D}"/>
              </a:ext>
            </a:extLst>
          </p:cNvPr>
          <p:cNvSpPr/>
          <p:nvPr/>
        </p:nvSpPr>
        <p:spPr>
          <a:xfrm>
            <a:off x="8141347" y="3009900"/>
            <a:ext cx="1473200" cy="63500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Increase coverage by 50%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13598522-BBFF-4276-8A65-430A16C548CE}"/>
              </a:ext>
            </a:extLst>
          </p:cNvPr>
          <p:cNvSpPr/>
          <p:nvPr/>
        </p:nvSpPr>
        <p:spPr>
          <a:xfrm>
            <a:off x="4573296" y="4795452"/>
            <a:ext cx="1473200" cy="635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solidFill>
                  <a:srgbClr val="FF000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Increase coverage by 50%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F97AC35D-E085-4737-A583-50EFC01C29C2}"/>
              </a:ext>
            </a:extLst>
          </p:cNvPr>
          <p:cNvSpPr/>
          <p:nvPr/>
        </p:nvSpPr>
        <p:spPr>
          <a:xfrm>
            <a:off x="6452895" y="4825895"/>
            <a:ext cx="1473200" cy="63500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Increase coverage by 50%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A5B7B04C-E91C-46B1-A6FA-0430130B75A7}"/>
              </a:ext>
            </a:extLst>
          </p:cNvPr>
          <p:cNvSpPr/>
          <p:nvPr/>
        </p:nvSpPr>
        <p:spPr>
          <a:xfrm>
            <a:off x="6400799" y="3881790"/>
            <a:ext cx="1473200" cy="635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Increase coverage by 50%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70A29043-B6F0-430B-A445-5927823EB85B}"/>
              </a:ext>
            </a:extLst>
          </p:cNvPr>
          <p:cNvSpPr/>
          <p:nvPr/>
        </p:nvSpPr>
        <p:spPr>
          <a:xfrm>
            <a:off x="10081205" y="3876642"/>
            <a:ext cx="1473200" cy="635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solidFill>
                  <a:srgbClr val="FF000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Increase coverage by 50%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FB4E9F46-01FD-453D-A8EC-1B9021F27551}"/>
              </a:ext>
            </a:extLst>
          </p:cNvPr>
          <p:cNvSpPr/>
          <p:nvPr/>
        </p:nvSpPr>
        <p:spPr>
          <a:xfrm>
            <a:off x="8331201" y="5709852"/>
            <a:ext cx="1473200" cy="63500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Increase coverage by 50%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44799861-C751-45C5-BD1C-7E2D7DF9823A}"/>
              </a:ext>
            </a:extLst>
          </p:cNvPr>
          <p:cNvSpPr/>
          <p:nvPr/>
        </p:nvSpPr>
        <p:spPr>
          <a:xfrm>
            <a:off x="4446296" y="5709852"/>
            <a:ext cx="1473200" cy="63500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Increase coverage by 50%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8154B33E-EDF4-453E-ADEF-B7599869CAB6}"/>
              </a:ext>
            </a:extLst>
          </p:cNvPr>
          <p:cNvSpPr/>
          <p:nvPr/>
        </p:nvSpPr>
        <p:spPr>
          <a:xfrm>
            <a:off x="2552700" y="5689071"/>
            <a:ext cx="1473200" cy="63500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Increase coverage by 50%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884FB8F9-9479-44AD-8FA7-292AAACEE5D0}"/>
              </a:ext>
            </a:extLst>
          </p:cNvPr>
          <p:cNvSpPr/>
          <p:nvPr/>
        </p:nvSpPr>
        <p:spPr>
          <a:xfrm>
            <a:off x="6388748" y="5652650"/>
            <a:ext cx="1473200" cy="635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solidFill>
                  <a:srgbClr val="FF000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Increase coverage by 50%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487D0531-3C62-4C04-B3F4-E0C54B7CCDE4}"/>
              </a:ext>
            </a:extLst>
          </p:cNvPr>
          <p:cNvSpPr/>
          <p:nvPr/>
        </p:nvSpPr>
        <p:spPr>
          <a:xfrm>
            <a:off x="2552700" y="4786934"/>
            <a:ext cx="1473200" cy="63500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Increase coverage by 50%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6C92B6C8-77AB-448C-A168-48C23A70A60E}"/>
              </a:ext>
            </a:extLst>
          </p:cNvPr>
          <p:cNvSpPr/>
          <p:nvPr/>
        </p:nvSpPr>
        <p:spPr>
          <a:xfrm>
            <a:off x="4446296" y="2095500"/>
            <a:ext cx="1473200" cy="63500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Increase coverage by 50%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F02848F9-0DE0-45A5-A98F-D380ACCA9EC0}"/>
              </a:ext>
            </a:extLst>
          </p:cNvPr>
          <p:cNvSpPr/>
          <p:nvPr/>
        </p:nvSpPr>
        <p:spPr>
          <a:xfrm>
            <a:off x="4319296" y="3009900"/>
            <a:ext cx="1473200" cy="635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solidFill>
                  <a:srgbClr val="FF000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Increase coverage by 50%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421CB36E-1020-4084-ABE0-E881332D7A46}"/>
              </a:ext>
            </a:extLst>
          </p:cNvPr>
          <p:cNvSpPr/>
          <p:nvPr/>
        </p:nvSpPr>
        <p:spPr>
          <a:xfrm>
            <a:off x="8294395" y="2135823"/>
            <a:ext cx="1473200" cy="635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Increase coverage by 50%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CCFB1432-46AD-431B-A658-F66252B9D1FE}"/>
              </a:ext>
            </a:extLst>
          </p:cNvPr>
          <p:cNvSpPr/>
          <p:nvPr/>
        </p:nvSpPr>
        <p:spPr>
          <a:xfrm>
            <a:off x="8141347" y="3875722"/>
            <a:ext cx="1473200" cy="63500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Increase coverage by 50%</a:t>
            </a: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E12A0A72-7DCC-4A97-A211-CF1FA29A6BAD}"/>
              </a:ext>
            </a:extLst>
          </p:cNvPr>
          <p:cNvSpPr/>
          <p:nvPr/>
        </p:nvSpPr>
        <p:spPr>
          <a:xfrm>
            <a:off x="8350897" y="4884887"/>
            <a:ext cx="1473200" cy="63500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Increase coverage by 50%</a:t>
            </a: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B0FB503D-766A-4B5A-9FAF-EE19DD4A2900}"/>
              </a:ext>
            </a:extLst>
          </p:cNvPr>
          <p:cNvSpPr/>
          <p:nvPr/>
        </p:nvSpPr>
        <p:spPr>
          <a:xfrm>
            <a:off x="6374751" y="3055035"/>
            <a:ext cx="1473200" cy="63500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Increase coverage by 50%</a:t>
            </a: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DE434E01-68BA-4A7F-9638-DE246D24476E}"/>
              </a:ext>
            </a:extLst>
          </p:cNvPr>
          <p:cNvSpPr/>
          <p:nvPr/>
        </p:nvSpPr>
        <p:spPr>
          <a:xfrm>
            <a:off x="6711624" y="302571"/>
            <a:ext cx="940449" cy="437945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b="1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On or above plan </a:t>
            </a: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63486767-7969-4899-B27E-893E19D72EE6}"/>
              </a:ext>
            </a:extLst>
          </p:cNvPr>
          <p:cNvSpPr/>
          <p:nvPr/>
        </p:nvSpPr>
        <p:spPr>
          <a:xfrm>
            <a:off x="7816200" y="301846"/>
            <a:ext cx="940449" cy="437945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b="1" dirty="0">
                <a:solidFill>
                  <a:srgbClr val="FF000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Just behind plan </a:t>
            </a: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A68D1F34-E655-41A4-B44B-01B50578142B}"/>
              </a:ext>
            </a:extLst>
          </p:cNvPr>
          <p:cNvSpPr/>
          <p:nvPr/>
        </p:nvSpPr>
        <p:spPr>
          <a:xfrm>
            <a:off x="8883648" y="316888"/>
            <a:ext cx="940449" cy="437945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b="1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Will  not meet plan 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238220C-700E-4C44-9340-6F3767A2ADFC}"/>
              </a:ext>
            </a:extLst>
          </p:cNvPr>
          <p:cNvCxnSpPr>
            <a:endCxn id="40" idx="2"/>
          </p:cNvCxnSpPr>
          <p:nvPr/>
        </p:nvCxnSpPr>
        <p:spPr>
          <a:xfrm flipV="1">
            <a:off x="4025900" y="2413000"/>
            <a:ext cx="420396" cy="4739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1EC97D0B-7628-4AF3-9BDB-AED4464AE078}"/>
              </a:ext>
            </a:extLst>
          </p:cNvPr>
          <p:cNvSpPr txBox="1"/>
          <p:nvPr/>
        </p:nvSpPr>
        <p:spPr>
          <a:xfrm>
            <a:off x="1" y="89951"/>
            <a:ext cx="5693790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435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oppins" panose="00000500000000000000" pitchFamily="2" charset="0"/>
                <a:ea typeface="Lato Light" panose="020F0502020204030203" pitchFamily="34" charset="0"/>
                <a:cs typeface="Poppins" panose="00000500000000000000" pitchFamily="2" charset="0"/>
              </a:rPr>
              <a:t>High Level Strategy Map </a:t>
            </a:r>
            <a:endParaRPr kumimoji="0" lang="en-US" sz="4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Poppins" panose="00000500000000000000" pitchFamily="2" charset="0"/>
              <a:ea typeface="Lato Light" panose="020F0502020204030203" pitchFamily="34" charset="0"/>
              <a:cs typeface="Poppin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89938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 5">
            <a:extLst>
              <a:ext uri="{FF2B5EF4-FFF2-40B4-BE49-F238E27FC236}">
                <a16:creationId xmlns:a16="http://schemas.microsoft.com/office/drawing/2014/main" id="{0FABC501-C69B-423A-9A66-F3FB88F796D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9895239"/>
              </p:ext>
            </p:extLst>
          </p:nvPr>
        </p:nvGraphicFramePr>
        <p:xfrm>
          <a:off x="345494" y="965305"/>
          <a:ext cx="11376606" cy="5075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376606">
                  <a:extLst>
                    <a:ext uri="{9D8B030D-6E8A-4147-A177-3AD203B41FA5}">
                      <a16:colId xmlns:a16="http://schemas.microsoft.com/office/drawing/2014/main" val="2184548553"/>
                    </a:ext>
                  </a:extLst>
                </a:gridCol>
              </a:tblGrid>
              <a:tr h="507563">
                <a:tc>
                  <a:txBody>
                    <a:bodyPr/>
                    <a:lstStyle/>
                    <a:p>
                      <a:pPr algn="l"/>
                      <a:r>
                        <a:rPr lang="en-US" sz="1200" kern="0" dirty="0"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Mission Statement: </a:t>
                      </a:r>
                      <a:r>
                        <a:rPr lang="en-GB" sz="1200" b="0" kern="0" dirty="0"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To create the most compelling car company of the 21st century by driving the world’s transition to electric vehicles </a:t>
                      </a:r>
                      <a:br>
                        <a:rPr lang="en-US" sz="1200" b="0" kern="0" dirty="0"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</a:br>
                      <a:r>
                        <a:rPr lang="en-US" sz="1200" kern="0" dirty="0"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Vision Statement: </a:t>
                      </a:r>
                      <a:r>
                        <a:rPr lang="en-GB" sz="1200" b="0" kern="0" dirty="0"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To accelerate the world’s transition to sustainable energy (Example from Tesla)</a:t>
                      </a:r>
                      <a:endParaRPr lang="en-GB" sz="1050" dirty="0">
                        <a:solidFill>
                          <a:schemeClr val="bg1"/>
                        </a:solidFill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>
                    <a:solidFill>
                      <a:srgbClr val="0091B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1899714"/>
                  </a:ext>
                </a:extLst>
              </a:tr>
            </a:tbl>
          </a:graphicData>
        </a:graphic>
      </p:graphicFrame>
      <p:graphicFrame>
        <p:nvGraphicFramePr>
          <p:cNvPr id="9" name="Table 5">
            <a:extLst>
              <a:ext uri="{FF2B5EF4-FFF2-40B4-BE49-F238E27FC236}">
                <a16:creationId xmlns:a16="http://schemas.microsoft.com/office/drawing/2014/main" id="{54C95F76-4806-4327-A0B9-863586AD4B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3635625"/>
              </p:ext>
            </p:extLst>
          </p:nvPr>
        </p:nvGraphicFramePr>
        <p:xfrm>
          <a:off x="358193" y="1547712"/>
          <a:ext cx="11376606" cy="4968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26206">
                  <a:extLst>
                    <a:ext uri="{9D8B030D-6E8A-4147-A177-3AD203B41FA5}">
                      <a16:colId xmlns:a16="http://schemas.microsoft.com/office/drawing/2014/main" val="2184548553"/>
                    </a:ext>
                  </a:extLst>
                </a:gridCol>
                <a:gridCol w="2089583">
                  <a:extLst>
                    <a:ext uri="{9D8B030D-6E8A-4147-A177-3AD203B41FA5}">
                      <a16:colId xmlns:a16="http://schemas.microsoft.com/office/drawing/2014/main" val="1738853937"/>
                    </a:ext>
                  </a:extLst>
                </a:gridCol>
                <a:gridCol w="1865204">
                  <a:extLst>
                    <a:ext uri="{9D8B030D-6E8A-4147-A177-3AD203B41FA5}">
                      <a16:colId xmlns:a16="http://schemas.microsoft.com/office/drawing/2014/main" val="2994182438"/>
                    </a:ext>
                  </a:extLst>
                </a:gridCol>
                <a:gridCol w="1865205">
                  <a:extLst>
                    <a:ext uri="{9D8B030D-6E8A-4147-A177-3AD203B41FA5}">
                      <a16:colId xmlns:a16="http://schemas.microsoft.com/office/drawing/2014/main" val="2337464591"/>
                    </a:ext>
                  </a:extLst>
                </a:gridCol>
                <a:gridCol w="1865204">
                  <a:extLst>
                    <a:ext uri="{9D8B030D-6E8A-4147-A177-3AD203B41FA5}">
                      <a16:colId xmlns:a16="http://schemas.microsoft.com/office/drawing/2014/main" val="2645223862"/>
                    </a:ext>
                  </a:extLst>
                </a:gridCol>
                <a:gridCol w="1865204">
                  <a:extLst>
                    <a:ext uri="{9D8B030D-6E8A-4147-A177-3AD203B41FA5}">
                      <a16:colId xmlns:a16="http://schemas.microsoft.com/office/drawing/2014/main" val="1299096974"/>
                    </a:ext>
                  </a:extLst>
                </a:gridCol>
              </a:tblGrid>
              <a:tr h="46800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0" kern="1200" dirty="0">
                          <a:solidFill>
                            <a:schemeClr val="bg1"/>
                          </a:solidFill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Functional area</a:t>
                      </a:r>
                    </a:p>
                  </a:txBody>
                  <a:tcPr>
                    <a:solidFill>
                      <a:srgbClr val="0091B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0" kern="1200" dirty="0">
                          <a:solidFill>
                            <a:schemeClr val="bg1"/>
                          </a:solidFill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Objective </a:t>
                      </a:r>
                    </a:p>
                  </a:txBody>
                  <a:tcPr>
                    <a:solidFill>
                      <a:srgbClr val="0091B5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kern="120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High level strategic objectives </a:t>
                      </a:r>
                    </a:p>
                  </a:txBody>
                  <a:tcPr>
                    <a:solidFill>
                      <a:srgbClr val="0091B5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800" b="0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800" b="0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800" b="0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835212"/>
                  </a:ext>
                </a:extLst>
              </a:tr>
              <a:tr h="90000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bg1"/>
                          </a:solidFill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Product </a:t>
                      </a:r>
                    </a:p>
                  </a:txBody>
                  <a:tcPr anchor="ctr">
                    <a:solidFill>
                      <a:srgbClr val="0091B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0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0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0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3148595"/>
                  </a:ext>
                </a:extLst>
              </a:tr>
              <a:tr h="9000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400" b="1" kern="1200" dirty="0">
                          <a:solidFill>
                            <a:schemeClr val="bg1"/>
                          </a:solidFill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Price </a:t>
                      </a:r>
                    </a:p>
                  </a:txBody>
                  <a:tcPr anchor="ctr">
                    <a:solidFill>
                      <a:srgbClr val="0091B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1756867"/>
                  </a:ext>
                </a:extLst>
              </a:tr>
              <a:tr h="9000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400" b="1" kern="1200" dirty="0">
                          <a:solidFill>
                            <a:schemeClr val="bg1"/>
                          </a:solidFill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Distribution</a:t>
                      </a:r>
                    </a:p>
                  </a:txBody>
                  <a:tcPr anchor="ctr">
                    <a:solidFill>
                      <a:srgbClr val="0091B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4081402"/>
                  </a:ext>
                </a:extLst>
              </a:tr>
              <a:tr h="9000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400" b="1" kern="1200" dirty="0">
                          <a:solidFill>
                            <a:schemeClr val="bg1"/>
                          </a:solidFill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Promotion</a:t>
                      </a:r>
                    </a:p>
                  </a:txBody>
                  <a:tcPr anchor="ctr">
                    <a:solidFill>
                      <a:srgbClr val="0091B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374337"/>
                  </a:ext>
                </a:extLst>
              </a:tr>
              <a:tr h="9000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400" b="1" kern="1200" dirty="0">
                          <a:solidFill>
                            <a:schemeClr val="bg1"/>
                          </a:solidFill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Communication </a:t>
                      </a:r>
                    </a:p>
                  </a:txBody>
                  <a:tcPr anchor="ctr">
                    <a:solidFill>
                      <a:srgbClr val="0091B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6081591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961C1A6E-1555-4066-AC58-A7A5A042833C}"/>
              </a:ext>
            </a:extLst>
          </p:cNvPr>
          <p:cNvSpPr txBox="1"/>
          <p:nvPr/>
        </p:nvSpPr>
        <p:spPr>
          <a:xfrm>
            <a:off x="9232777" y="233416"/>
            <a:ext cx="28646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400" b="1"/>
            </a:lvl1pPr>
          </a:lstStyle>
          <a:p>
            <a:pPr algn="r"/>
            <a:r>
              <a:rPr lang="en-GB" sz="2000" dirty="0">
                <a:latin typeface="Poppins" panose="00000500000000000000" pitchFamily="2" charset="0"/>
                <a:ea typeface="Lato Light" panose="020F0502020204030203" pitchFamily="34" charset="0"/>
                <a:cs typeface="Poppins" panose="00000500000000000000" pitchFamily="2" charset="0"/>
              </a:rPr>
              <a:t>Marketing Function 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5024217B-D13C-4221-9671-8B2032894A6B}"/>
              </a:ext>
            </a:extLst>
          </p:cNvPr>
          <p:cNvSpPr/>
          <p:nvPr/>
        </p:nvSpPr>
        <p:spPr>
          <a:xfrm>
            <a:off x="2552700" y="2127734"/>
            <a:ext cx="1473200" cy="63500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Broaden product portfolio into adjancies 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34E3C12D-4213-4A5C-B132-635608279468}"/>
              </a:ext>
            </a:extLst>
          </p:cNvPr>
          <p:cNvSpPr/>
          <p:nvPr/>
        </p:nvSpPr>
        <p:spPr>
          <a:xfrm>
            <a:off x="2552700" y="2993565"/>
            <a:ext cx="1473200" cy="63500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rive value pricing by 7% overall increase 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17DBA1D8-9912-436B-AB1C-80EA3C008981}"/>
              </a:ext>
            </a:extLst>
          </p:cNvPr>
          <p:cNvSpPr/>
          <p:nvPr/>
        </p:nvSpPr>
        <p:spPr>
          <a:xfrm>
            <a:off x="2552700" y="3892067"/>
            <a:ext cx="1473200" cy="63500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Increase coverage by 4% points nationally.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19A80632-94A0-4DA9-932E-071B6DD854B8}"/>
              </a:ext>
            </a:extLst>
          </p:cNvPr>
          <p:cNvSpPr/>
          <p:nvPr/>
        </p:nvSpPr>
        <p:spPr>
          <a:xfrm>
            <a:off x="6400799" y="2127734"/>
            <a:ext cx="1473200" cy="63500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Increase coverage by 50%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76753DCD-A64F-43F9-8DD3-CC384C254B3D}"/>
              </a:ext>
            </a:extLst>
          </p:cNvPr>
          <p:cNvSpPr/>
          <p:nvPr/>
        </p:nvSpPr>
        <p:spPr>
          <a:xfrm>
            <a:off x="8141347" y="3009900"/>
            <a:ext cx="1473200" cy="63500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Increase coverage by 50%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13598522-BBFF-4276-8A65-430A16C548CE}"/>
              </a:ext>
            </a:extLst>
          </p:cNvPr>
          <p:cNvSpPr/>
          <p:nvPr/>
        </p:nvSpPr>
        <p:spPr>
          <a:xfrm>
            <a:off x="4573296" y="4795452"/>
            <a:ext cx="1473200" cy="635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solidFill>
                  <a:srgbClr val="FF000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Increase coverage by 50%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F97AC35D-E085-4737-A583-50EFC01C29C2}"/>
              </a:ext>
            </a:extLst>
          </p:cNvPr>
          <p:cNvSpPr/>
          <p:nvPr/>
        </p:nvSpPr>
        <p:spPr>
          <a:xfrm>
            <a:off x="6452895" y="4825895"/>
            <a:ext cx="1473200" cy="63500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Increase coverage by 50%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A5B7B04C-E91C-46B1-A6FA-0430130B75A7}"/>
              </a:ext>
            </a:extLst>
          </p:cNvPr>
          <p:cNvSpPr/>
          <p:nvPr/>
        </p:nvSpPr>
        <p:spPr>
          <a:xfrm>
            <a:off x="6400799" y="3881790"/>
            <a:ext cx="1473200" cy="635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Increase coverage by 50%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70A29043-B6F0-430B-A445-5927823EB85B}"/>
              </a:ext>
            </a:extLst>
          </p:cNvPr>
          <p:cNvSpPr/>
          <p:nvPr/>
        </p:nvSpPr>
        <p:spPr>
          <a:xfrm>
            <a:off x="10081205" y="3876642"/>
            <a:ext cx="1473200" cy="635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solidFill>
                  <a:srgbClr val="FF000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Increase coverage by 50%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FB4E9F46-01FD-453D-A8EC-1B9021F27551}"/>
              </a:ext>
            </a:extLst>
          </p:cNvPr>
          <p:cNvSpPr/>
          <p:nvPr/>
        </p:nvSpPr>
        <p:spPr>
          <a:xfrm>
            <a:off x="8331201" y="5709852"/>
            <a:ext cx="1473200" cy="63500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Increase coverage by 50%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44799861-C751-45C5-BD1C-7E2D7DF9823A}"/>
              </a:ext>
            </a:extLst>
          </p:cNvPr>
          <p:cNvSpPr/>
          <p:nvPr/>
        </p:nvSpPr>
        <p:spPr>
          <a:xfrm>
            <a:off x="4446296" y="5709852"/>
            <a:ext cx="1473200" cy="63500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Increase coverage by 50%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8154B33E-EDF4-453E-ADEF-B7599869CAB6}"/>
              </a:ext>
            </a:extLst>
          </p:cNvPr>
          <p:cNvSpPr/>
          <p:nvPr/>
        </p:nvSpPr>
        <p:spPr>
          <a:xfrm>
            <a:off x="2552700" y="5689071"/>
            <a:ext cx="1473200" cy="63500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rive communication using social media channels primarily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884FB8F9-9479-44AD-8FA7-292AAACEE5D0}"/>
              </a:ext>
            </a:extLst>
          </p:cNvPr>
          <p:cNvSpPr/>
          <p:nvPr/>
        </p:nvSpPr>
        <p:spPr>
          <a:xfrm>
            <a:off x="6388748" y="5652650"/>
            <a:ext cx="1473200" cy="635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solidFill>
                  <a:srgbClr val="FF000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Increase coverage by 50%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487D0531-3C62-4C04-B3F4-E0C54B7CCDE4}"/>
              </a:ext>
            </a:extLst>
          </p:cNvPr>
          <p:cNvSpPr/>
          <p:nvPr/>
        </p:nvSpPr>
        <p:spPr>
          <a:xfrm>
            <a:off x="2552700" y="4786934"/>
            <a:ext cx="1473200" cy="63500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Share of promotions to increase to 24% maximum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6C92B6C8-77AB-448C-A168-48C23A70A60E}"/>
              </a:ext>
            </a:extLst>
          </p:cNvPr>
          <p:cNvSpPr/>
          <p:nvPr/>
        </p:nvSpPr>
        <p:spPr>
          <a:xfrm>
            <a:off x="4446296" y="2095500"/>
            <a:ext cx="1473200" cy="63500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Increase coverage by 50%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F02848F9-0DE0-45A5-A98F-D380ACCA9EC0}"/>
              </a:ext>
            </a:extLst>
          </p:cNvPr>
          <p:cNvSpPr/>
          <p:nvPr/>
        </p:nvSpPr>
        <p:spPr>
          <a:xfrm>
            <a:off x="4319296" y="3009900"/>
            <a:ext cx="1473200" cy="6350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solidFill>
                  <a:srgbClr val="FF000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Increase coverage by 50%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421CB36E-1020-4084-ABE0-E881332D7A46}"/>
              </a:ext>
            </a:extLst>
          </p:cNvPr>
          <p:cNvSpPr/>
          <p:nvPr/>
        </p:nvSpPr>
        <p:spPr>
          <a:xfrm>
            <a:off x="8294395" y="2135823"/>
            <a:ext cx="1473200" cy="635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Increase coverage by 50%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CCFB1432-46AD-431B-A658-F66252B9D1FE}"/>
              </a:ext>
            </a:extLst>
          </p:cNvPr>
          <p:cNvSpPr/>
          <p:nvPr/>
        </p:nvSpPr>
        <p:spPr>
          <a:xfrm>
            <a:off x="8141347" y="3875722"/>
            <a:ext cx="1473200" cy="63500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Increase coverage by 50%</a:t>
            </a: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E12A0A72-7DCC-4A97-A211-CF1FA29A6BAD}"/>
              </a:ext>
            </a:extLst>
          </p:cNvPr>
          <p:cNvSpPr/>
          <p:nvPr/>
        </p:nvSpPr>
        <p:spPr>
          <a:xfrm>
            <a:off x="8350897" y="4884887"/>
            <a:ext cx="1473200" cy="63500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Increase coverage by 50%</a:t>
            </a: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B0FB503D-766A-4B5A-9FAF-EE19DD4A2900}"/>
              </a:ext>
            </a:extLst>
          </p:cNvPr>
          <p:cNvSpPr/>
          <p:nvPr/>
        </p:nvSpPr>
        <p:spPr>
          <a:xfrm>
            <a:off x="6374751" y="3055035"/>
            <a:ext cx="1473200" cy="63500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Increase coverage by 50%</a:t>
            </a: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DE434E01-68BA-4A7F-9638-DE246D24476E}"/>
              </a:ext>
            </a:extLst>
          </p:cNvPr>
          <p:cNvSpPr/>
          <p:nvPr/>
        </p:nvSpPr>
        <p:spPr>
          <a:xfrm>
            <a:off x="5397728" y="302571"/>
            <a:ext cx="940449" cy="437945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b="1" dirty="0"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On or above plan </a:t>
            </a: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63486767-7969-4899-B27E-893E19D72EE6}"/>
              </a:ext>
            </a:extLst>
          </p:cNvPr>
          <p:cNvSpPr/>
          <p:nvPr/>
        </p:nvSpPr>
        <p:spPr>
          <a:xfrm>
            <a:off x="6502304" y="301846"/>
            <a:ext cx="940449" cy="437945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b="1" dirty="0">
                <a:solidFill>
                  <a:srgbClr val="FF000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Just behind plan </a:t>
            </a: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A68D1F34-E655-41A4-B44B-01B50578142B}"/>
              </a:ext>
            </a:extLst>
          </p:cNvPr>
          <p:cNvSpPr/>
          <p:nvPr/>
        </p:nvSpPr>
        <p:spPr>
          <a:xfrm>
            <a:off x="7569752" y="316888"/>
            <a:ext cx="940449" cy="437945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b="1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Will  not meet plan 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238220C-700E-4C44-9340-6F3767A2ADFC}"/>
              </a:ext>
            </a:extLst>
          </p:cNvPr>
          <p:cNvCxnSpPr>
            <a:endCxn id="40" idx="2"/>
          </p:cNvCxnSpPr>
          <p:nvPr/>
        </p:nvCxnSpPr>
        <p:spPr>
          <a:xfrm flipV="1">
            <a:off x="4025900" y="2413000"/>
            <a:ext cx="420396" cy="4739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1EC97D0B-7628-4AF3-9BDB-AED4464AE078}"/>
              </a:ext>
            </a:extLst>
          </p:cNvPr>
          <p:cNvSpPr txBox="1"/>
          <p:nvPr/>
        </p:nvSpPr>
        <p:spPr>
          <a:xfrm>
            <a:off x="1" y="89951"/>
            <a:ext cx="5693790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435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oppins" panose="00000500000000000000" pitchFamily="2" charset="0"/>
                <a:ea typeface="Lato Light" panose="020F0502020204030203" pitchFamily="34" charset="0"/>
                <a:cs typeface="Poppins" panose="00000500000000000000" pitchFamily="2" charset="0"/>
              </a:rPr>
              <a:t>High Level Strategy Map </a:t>
            </a:r>
            <a:endParaRPr kumimoji="0" lang="en-US" sz="4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Poppins" panose="00000500000000000000" pitchFamily="2" charset="0"/>
              <a:ea typeface="Lato Light" panose="020F0502020204030203" pitchFamily="34" charset="0"/>
              <a:cs typeface="Poppin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35545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 5">
            <a:extLst>
              <a:ext uri="{FF2B5EF4-FFF2-40B4-BE49-F238E27FC236}">
                <a16:creationId xmlns:a16="http://schemas.microsoft.com/office/drawing/2014/main" id="{0FABC501-C69B-423A-9A66-F3FB88F796D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2765361"/>
              </p:ext>
            </p:extLst>
          </p:nvPr>
        </p:nvGraphicFramePr>
        <p:xfrm>
          <a:off x="345494" y="965305"/>
          <a:ext cx="11376606" cy="5075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376606">
                  <a:extLst>
                    <a:ext uri="{9D8B030D-6E8A-4147-A177-3AD203B41FA5}">
                      <a16:colId xmlns:a16="http://schemas.microsoft.com/office/drawing/2014/main" val="2184548553"/>
                    </a:ext>
                  </a:extLst>
                </a:gridCol>
              </a:tblGrid>
              <a:tr h="507563">
                <a:tc>
                  <a:txBody>
                    <a:bodyPr/>
                    <a:lstStyle/>
                    <a:p>
                      <a:pPr algn="l"/>
                      <a:r>
                        <a:rPr lang="en-US" sz="1200" kern="0" dirty="0"/>
                        <a:t>Mission Statement: </a:t>
                      </a:r>
                      <a:r>
                        <a:rPr lang="en-GB" sz="1200" b="0" kern="0" dirty="0"/>
                        <a:t>To create the most compelling car company of the 21st century by driving the world’s transition to electric vehicles </a:t>
                      </a:r>
                      <a:br>
                        <a:rPr lang="en-US" sz="1200" b="0" kern="0" dirty="0"/>
                      </a:br>
                      <a:r>
                        <a:rPr lang="en-US" sz="1200" kern="0" dirty="0"/>
                        <a:t>Vision Statement: </a:t>
                      </a:r>
                      <a:r>
                        <a:rPr lang="en-GB" sz="1200" b="0" kern="0" dirty="0"/>
                        <a:t>To accelerate the world’s transition to sustainable energy (Example from Tesla)</a:t>
                      </a:r>
                      <a:endParaRPr lang="en-GB" sz="105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091B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1899714"/>
                  </a:ext>
                </a:extLst>
              </a:tr>
            </a:tbl>
          </a:graphicData>
        </a:graphic>
      </p:graphicFrame>
      <p:graphicFrame>
        <p:nvGraphicFramePr>
          <p:cNvPr id="9" name="Table 5">
            <a:extLst>
              <a:ext uri="{FF2B5EF4-FFF2-40B4-BE49-F238E27FC236}">
                <a16:creationId xmlns:a16="http://schemas.microsoft.com/office/drawing/2014/main" id="{54C95F76-4806-4327-A0B9-863586AD4B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2547164"/>
              </p:ext>
            </p:extLst>
          </p:nvPr>
        </p:nvGraphicFramePr>
        <p:xfrm>
          <a:off x="358193" y="1547712"/>
          <a:ext cx="11376606" cy="4968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5634">
                  <a:extLst>
                    <a:ext uri="{9D8B030D-6E8A-4147-A177-3AD203B41FA5}">
                      <a16:colId xmlns:a16="http://schemas.microsoft.com/office/drawing/2014/main" val="2233141747"/>
                    </a:ext>
                  </a:extLst>
                </a:gridCol>
                <a:gridCol w="2581578">
                  <a:extLst>
                    <a:ext uri="{9D8B030D-6E8A-4147-A177-3AD203B41FA5}">
                      <a16:colId xmlns:a16="http://schemas.microsoft.com/office/drawing/2014/main" val="2184548553"/>
                    </a:ext>
                  </a:extLst>
                </a:gridCol>
                <a:gridCol w="1800553">
                  <a:extLst>
                    <a:ext uri="{9D8B030D-6E8A-4147-A177-3AD203B41FA5}">
                      <a16:colId xmlns:a16="http://schemas.microsoft.com/office/drawing/2014/main" val="1738853937"/>
                    </a:ext>
                  </a:extLst>
                </a:gridCol>
                <a:gridCol w="1607210">
                  <a:extLst>
                    <a:ext uri="{9D8B030D-6E8A-4147-A177-3AD203B41FA5}">
                      <a16:colId xmlns:a16="http://schemas.microsoft.com/office/drawing/2014/main" val="2994182438"/>
                    </a:ext>
                  </a:extLst>
                </a:gridCol>
                <a:gridCol w="1607211">
                  <a:extLst>
                    <a:ext uri="{9D8B030D-6E8A-4147-A177-3AD203B41FA5}">
                      <a16:colId xmlns:a16="http://schemas.microsoft.com/office/drawing/2014/main" val="2337464591"/>
                    </a:ext>
                  </a:extLst>
                </a:gridCol>
                <a:gridCol w="1607210">
                  <a:extLst>
                    <a:ext uri="{9D8B030D-6E8A-4147-A177-3AD203B41FA5}">
                      <a16:colId xmlns:a16="http://schemas.microsoft.com/office/drawing/2014/main" val="2645223862"/>
                    </a:ext>
                  </a:extLst>
                </a:gridCol>
                <a:gridCol w="1607210">
                  <a:extLst>
                    <a:ext uri="{9D8B030D-6E8A-4147-A177-3AD203B41FA5}">
                      <a16:colId xmlns:a16="http://schemas.microsoft.com/office/drawing/2014/main" val="1299096974"/>
                    </a:ext>
                  </a:extLst>
                </a:gridCol>
              </a:tblGrid>
              <a:tr h="46800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400" b="1" kern="1200" dirty="0">
                        <a:solidFill>
                          <a:schemeClr val="bg1"/>
                        </a:solidFill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>
                    <a:solidFill>
                      <a:srgbClr val="0091B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>
                          <a:solidFill>
                            <a:schemeClr val="bg1"/>
                          </a:solidFill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Functional area</a:t>
                      </a:r>
                    </a:p>
                  </a:txBody>
                  <a:tcPr>
                    <a:solidFill>
                      <a:srgbClr val="0091B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>
                          <a:solidFill>
                            <a:schemeClr val="bg1"/>
                          </a:solidFill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Objective </a:t>
                      </a:r>
                    </a:p>
                  </a:txBody>
                  <a:tcPr>
                    <a:solidFill>
                      <a:srgbClr val="0091B5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kern="120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High level strategic objectives </a:t>
                      </a:r>
                    </a:p>
                  </a:txBody>
                  <a:tcPr>
                    <a:solidFill>
                      <a:srgbClr val="0091B5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800" b="0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800" b="0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800" b="0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835212"/>
                  </a:ext>
                </a:extLst>
              </a:tr>
              <a:tr h="900000">
                <a:tc rowSpan="2">
                  <a:txBody>
                    <a:bodyPr/>
                    <a:lstStyle/>
                    <a:p>
                      <a:pPr algn="ctr"/>
                      <a:r>
                        <a:rPr lang="en-GB" sz="14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What we are getting </a:t>
                      </a:r>
                    </a:p>
                  </a:txBody>
                  <a:tcPr vert="vert27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>
                          <a:solidFill>
                            <a:schemeClr val="bg1"/>
                          </a:solidFill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Financial Perspective </a:t>
                      </a:r>
                    </a:p>
                  </a:txBody>
                  <a:tcPr anchor="ctr">
                    <a:solidFill>
                      <a:srgbClr val="0091B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0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0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b="0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3148595"/>
                  </a:ext>
                </a:extLst>
              </a:tr>
              <a:tr h="900000">
                <a:tc v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400" b="1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>
                          <a:solidFill>
                            <a:schemeClr val="bg1"/>
                          </a:solidFill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Customer Perspective  </a:t>
                      </a:r>
                    </a:p>
                  </a:txBody>
                  <a:tcPr anchor="ctr">
                    <a:solidFill>
                      <a:srgbClr val="0091B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dirty="0"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dirty="0"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dirty="0"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1756867"/>
                  </a:ext>
                </a:extLst>
              </a:tr>
              <a:tr h="900000">
                <a:tc rowSpan="3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>
                          <a:solidFill>
                            <a:schemeClr val="bg1"/>
                          </a:solidFill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What we're doing </a:t>
                      </a:r>
                    </a:p>
                  </a:txBody>
                  <a:tcPr vert="vert270" anchor="ctr">
                    <a:solidFill>
                      <a:srgbClr val="0091B5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>
                          <a:solidFill>
                            <a:schemeClr val="tx1"/>
                          </a:solidFill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Product </a:t>
                      </a:r>
                    </a:p>
                    <a:p>
                      <a:pPr marL="0" algn="ctr" defTabSz="914400" rtl="0" eaLnBrk="1" latinLnBrk="0" hangingPunct="1"/>
                      <a:r>
                        <a:rPr lang="en-GB" sz="1400" b="1" kern="1200" dirty="0">
                          <a:solidFill>
                            <a:schemeClr val="tx1"/>
                          </a:solidFill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Service</a:t>
                      </a:r>
                    </a:p>
                    <a:p>
                      <a:pPr marL="0" algn="ctr" defTabSz="914400" rtl="0" eaLnBrk="1" latinLnBrk="0" hangingPunct="1"/>
                      <a:r>
                        <a:rPr lang="en-GB" sz="1400" b="1" kern="1200" dirty="0">
                          <a:solidFill>
                            <a:schemeClr val="tx1"/>
                          </a:solidFill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Or </a:t>
                      </a:r>
                    </a:p>
                    <a:p>
                      <a:pPr marL="0" algn="ctr" defTabSz="914400" rtl="0" eaLnBrk="1" latinLnBrk="0" hangingPunct="1"/>
                      <a:r>
                        <a:rPr lang="en-GB" sz="1400" b="1" kern="1200" dirty="0">
                          <a:solidFill>
                            <a:schemeClr val="tx1"/>
                          </a:solidFill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Process 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4081402"/>
                  </a:ext>
                </a:extLst>
              </a:tr>
              <a:tr h="90000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800" b="1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374337"/>
                  </a:ext>
                </a:extLst>
              </a:tr>
              <a:tr h="900000">
                <a:tc v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GB" sz="1400" b="1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>
                          <a:solidFill>
                            <a:schemeClr val="tx1"/>
                          </a:solidFill>
                          <a:latin typeface="Lato Light" panose="020F0502020204030203" pitchFamily="34" charset="0"/>
                          <a:ea typeface="Lato Light" panose="020F0502020204030203" pitchFamily="34" charset="0"/>
                          <a:cs typeface="Lato Light" panose="020F0502020204030203" pitchFamily="34" charset="0"/>
                        </a:rPr>
                        <a:t>Learning and Growth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dirty="0">
                        <a:latin typeface="Lato Light" panose="020F0502020204030203" pitchFamily="34" charset="0"/>
                        <a:ea typeface="Lato Light" panose="020F0502020204030203" pitchFamily="34" charset="0"/>
                        <a:cs typeface="Lato Light" panose="020F0502020204030203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6081591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961C1A6E-1555-4066-AC58-A7A5A042833C}"/>
              </a:ext>
            </a:extLst>
          </p:cNvPr>
          <p:cNvSpPr txBox="1"/>
          <p:nvPr/>
        </p:nvSpPr>
        <p:spPr>
          <a:xfrm>
            <a:off x="9824097" y="233416"/>
            <a:ext cx="22733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400" b="1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Sales Function </a:t>
            </a: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DE434E01-68BA-4A7F-9638-DE246D24476E}"/>
              </a:ext>
            </a:extLst>
          </p:cNvPr>
          <p:cNvSpPr/>
          <p:nvPr/>
        </p:nvSpPr>
        <p:spPr>
          <a:xfrm>
            <a:off x="6711624" y="302571"/>
            <a:ext cx="940449" cy="437945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 or above plan </a:t>
            </a: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63486767-7969-4899-B27E-893E19D72EE6}"/>
              </a:ext>
            </a:extLst>
          </p:cNvPr>
          <p:cNvSpPr/>
          <p:nvPr/>
        </p:nvSpPr>
        <p:spPr>
          <a:xfrm>
            <a:off x="7816200" y="301846"/>
            <a:ext cx="940449" cy="437945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ust behind plan </a:t>
            </a: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A68D1F34-E655-41A4-B44B-01B50578142B}"/>
              </a:ext>
            </a:extLst>
          </p:cNvPr>
          <p:cNvSpPr/>
          <p:nvPr/>
        </p:nvSpPr>
        <p:spPr>
          <a:xfrm>
            <a:off x="8883648" y="316888"/>
            <a:ext cx="940449" cy="437945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ll  not meet plan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B2D5101-7D0F-4FC8-A333-0341EB348039}"/>
              </a:ext>
            </a:extLst>
          </p:cNvPr>
          <p:cNvSpPr txBox="1"/>
          <p:nvPr/>
        </p:nvSpPr>
        <p:spPr>
          <a:xfrm>
            <a:off x="1" y="89951"/>
            <a:ext cx="5693790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435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High Level Strategy Map </a:t>
            </a:r>
            <a:endParaRPr kumimoji="0" lang="en-US" sz="4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42024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34DA4CE-ABCE-2F6D-B94E-A68057C7C955}"/>
              </a:ext>
            </a:extLst>
          </p:cNvPr>
          <p:cNvSpPr/>
          <p:nvPr/>
        </p:nvSpPr>
        <p:spPr>
          <a:xfrm>
            <a:off x="-2286" y="-13209"/>
            <a:ext cx="5760000" cy="6871209"/>
          </a:xfrm>
          <a:prstGeom prst="rect">
            <a:avLst/>
          </a:prstGeom>
          <a:solidFill>
            <a:srgbClr val="FF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/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 panose="020F0502020204030203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06EE79-7A89-C964-B4A3-F1292467C261}"/>
              </a:ext>
            </a:extLst>
          </p:cNvPr>
          <p:cNvSpPr/>
          <p:nvPr/>
        </p:nvSpPr>
        <p:spPr>
          <a:xfrm>
            <a:off x="0" y="5937662"/>
            <a:ext cx="5760000" cy="9203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4AD03D1C-6F5C-4CA5-B29F-DCD98223BC6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1262" y="150636"/>
            <a:ext cx="1555200" cy="361973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E4F23697-1BEC-4F6B-A1E1-CF2064D07358}"/>
              </a:ext>
            </a:extLst>
          </p:cNvPr>
          <p:cNvSpPr txBox="1"/>
          <p:nvPr/>
        </p:nvSpPr>
        <p:spPr>
          <a:xfrm>
            <a:off x="9200304" y="6291348"/>
            <a:ext cx="2923714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D96800"/>
                </a:solidFill>
                <a:effectLst/>
                <a:uLnTx/>
                <a:uFillTx/>
                <a:latin typeface="Lato Light" panose="020F0502020204030203"/>
                <a:ea typeface="+mn-ea"/>
                <a:cs typeface="+mn-cs"/>
              </a:rPr>
              <a:t>Tools, Content &amp; Template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Lato Light" panose="020F0502020204030203"/>
                <a:ea typeface="+mn-ea"/>
                <a:cs typeface="+mn-cs"/>
              </a:rPr>
              <a:t>Hand built using experience &amp; Insight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1EC035C-DF7F-643C-17BD-F7A29706EF7B}"/>
              </a:ext>
            </a:extLst>
          </p:cNvPr>
          <p:cNvSpPr txBox="1"/>
          <p:nvPr/>
        </p:nvSpPr>
        <p:spPr>
          <a:xfrm>
            <a:off x="0" y="6132606"/>
            <a:ext cx="2487515" cy="523220"/>
          </a:xfrm>
          <a:prstGeom prst="rect">
            <a:avLst/>
          </a:prstGeom>
          <a:noFill/>
        </p:spPr>
        <p:txBody>
          <a:bodyPr wrap="square" lIns="360000" rIns="360000">
            <a:spAutoFit/>
          </a:bodyPr>
          <a:lstStyle>
            <a:defPPr>
              <a:defRPr lang="en-US"/>
            </a:defPPr>
            <a:lvl1pPr>
              <a:defRPr b="0" i="0">
                <a:solidFill>
                  <a:srgbClr val="909399"/>
                </a:solidFill>
                <a:effectLst/>
                <a:latin typeface="Helvetica Neue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 panose="020F0502020204030203"/>
                <a:ea typeface="+mn-ea"/>
                <a:cs typeface="+mn-cs"/>
              </a:rPr>
              <a:t>UpskilPRO e Institute for Sales &amp; Marketing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57944EF-C325-87E6-F497-106A27C993F0}"/>
              </a:ext>
            </a:extLst>
          </p:cNvPr>
          <p:cNvSpPr txBox="1"/>
          <p:nvPr/>
        </p:nvSpPr>
        <p:spPr>
          <a:xfrm>
            <a:off x="286820" y="3784462"/>
            <a:ext cx="546864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b="0" i="0">
                <a:solidFill>
                  <a:srgbClr val="909399"/>
                </a:solidFill>
                <a:effectLst/>
                <a:latin typeface="Helvetica Neue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trategic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 decision-making involves thinking about the long-term course one will take through a broad competitive landscape. 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35E8B50-E3AF-B133-2E1A-DAD76F64E6D3}"/>
              </a:ext>
            </a:extLst>
          </p:cNvPr>
          <p:cNvSpPr txBox="1"/>
          <p:nvPr/>
        </p:nvSpPr>
        <p:spPr>
          <a:xfrm>
            <a:off x="0" y="2876860"/>
            <a:ext cx="590660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35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MS Gothic" panose="020B0609070205080204" pitchFamily="49" charset="-128"/>
                <a:cs typeface="Poppins" panose="00000500000000000000" pitchFamily="2" charset="0"/>
              </a:rPr>
              <a:t>Strategy Map </a:t>
            </a:r>
          </a:p>
          <a:p>
            <a:pPr marL="0" marR="0" lvl="0" indent="0" algn="ctr" defTabSz="4353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" panose="00000500000000000000" pitchFamily="2" charset="0"/>
                <a:ea typeface="MS Gothic" panose="020B0609070205080204" pitchFamily="49" charset="-128"/>
                <a:cs typeface="Poppins" panose="00000500000000000000" pitchFamily="2" charset="0"/>
              </a:rPr>
              <a:t>High Level 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 panose="00000500000000000000" pitchFamily="2" charset="0"/>
              <a:ea typeface="MS Gothic" panose="020B0609070205080204" pitchFamily="49" charset="-128"/>
              <a:cs typeface="Poppins" panose="00000500000000000000" pitchFamily="2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8A9252D-3EB8-8008-213E-C91642FFACB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1553" t="21225" r="7087" b="8262"/>
          <a:stretch/>
        </p:blipFill>
        <p:spPr>
          <a:xfrm>
            <a:off x="6989654" y="2606182"/>
            <a:ext cx="3702140" cy="205772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DC2E2F62-C268-2FD9-0A8B-5BD58D7A90E7}"/>
              </a:ext>
            </a:extLst>
          </p:cNvPr>
          <p:cNvGrpSpPr/>
          <p:nvPr/>
        </p:nvGrpSpPr>
        <p:grpSpPr>
          <a:xfrm>
            <a:off x="5239797" y="4096166"/>
            <a:ext cx="1055370" cy="1055370"/>
            <a:chOff x="7108613" y="4124330"/>
            <a:chExt cx="1055370" cy="1055370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5ECA321C-FDAF-0CF6-C0C7-94EE50DFC8A8}"/>
                </a:ext>
              </a:extLst>
            </p:cNvPr>
            <p:cNvSpPr/>
            <p:nvPr/>
          </p:nvSpPr>
          <p:spPr>
            <a:xfrm>
              <a:off x="7108613" y="4124330"/>
              <a:ext cx="1055370" cy="105537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/>
                <a:ea typeface="+mn-ea"/>
                <a:cs typeface="+mn-cs"/>
              </a:endParaRPr>
            </a:p>
          </p:txBody>
        </p:sp>
        <p:sp>
          <p:nvSpPr>
            <p:cNvPr id="6" name="Google Shape;104;p13">
              <a:extLst>
                <a:ext uri="{FF2B5EF4-FFF2-40B4-BE49-F238E27FC236}">
                  <a16:creationId xmlns:a16="http://schemas.microsoft.com/office/drawing/2014/main" id="{BFA6803F-0448-B0F3-3899-06B2A16FD499}"/>
                </a:ext>
              </a:extLst>
            </p:cNvPr>
            <p:cNvSpPr/>
            <p:nvPr/>
          </p:nvSpPr>
          <p:spPr>
            <a:xfrm>
              <a:off x="7322078" y="4349750"/>
              <a:ext cx="631825" cy="550862"/>
            </a:xfrm>
            <a:custGeom>
              <a:avLst/>
              <a:gdLst/>
              <a:ahLst/>
              <a:cxnLst/>
              <a:rect l="l" t="t" r="r" b="b"/>
              <a:pathLst>
                <a:path w="145" h="126" extrusionOk="0">
                  <a:moveTo>
                    <a:pt x="129" y="126"/>
                  </a:moveTo>
                  <a:cubicBezTo>
                    <a:pt x="17" y="126"/>
                    <a:pt x="17" y="126"/>
                    <a:pt x="17" y="126"/>
                  </a:cubicBezTo>
                  <a:cubicBezTo>
                    <a:pt x="8" y="126"/>
                    <a:pt x="0" y="118"/>
                    <a:pt x="0" y="109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0" y="80"/>
                    <a:pt x="1" y="78"/>
                    <a:pt x="3" y="78"/>
                  </a:cubicBezTo>
                  <a:cubicBezTo>
                    <a:pt x="5" y="78"/>
                    <a:pt x="6" y="80"/>
                    <a:pt x="6" y="81"/>
                  </a:cubicBezTo>
                  <a:cubicBezTo>
                    <a:pt x="6" y="109"/>
                    <a:pt x="6" y="109"/>
                    <a:pt x="6" y="109"/>
                  </a:cubicBezTo>
                  <a:cubicBezTo>
                    <a:pt x="6" y="115"/>
                    <a:pt x="11" y="120"/>
                    <a:pt x="17" y="120"/>
                  </a:cubicBezTo>
                  <a:cubicBezTo>
                    <a:pt x="129" y="120"/>
                    <a:pt x="129" y="120"/>
                    <a:pt x="129" y="120"/>
                  </a:cubicBezTo>
                  <a:cubicBezTo>
                    <a:pt x="134" y="120"/>
                    <a:pt x="139" y="115"/>
                    <a:pt x="139" y="109"/>
                  </a:cubicBezTo>
                  <a:cubicBezTo>
                    <a:pt x="139" y="82"/>
                    <a:pt x="139" y="82"/>
                    <a:pt x="139" y="82"/>
                  </a:cubicBezTo>
                  <a:cubicBezTo>
                    <a:pt x="139" y="80"/>
                    <a:pt x="141" y="79"/>
                    <a:pt x="142" y="79"/>
                  </a:cubicBezTo>
                  <a:cubicBezTo>
                    <a:pt x="144" y="79"/>
                    <a:pt x="145" y="80"/>
                    <a:pt x="145" y="82"/>
                  </a:cubicBezTo>
                  <a:cubicBezTo>
                    <a:pt x="145" y="109"/>
                    <a:pt x="145" y="109"/>
                    <a:pt x="145" y="109"/>
                  </a:cubicBezTo>
                  <a:cubicBezTo>
                    <a:pt x="145" y="118"/>
                    <a:pt x="138" y="126"/>
                    <a:pt x="129" y="126"/>
                  </a:cubicBezTo>
                  <a:close/>
                  <a:moveTo>
                    <a:pt x="79" y="90"/>
                  </a:moveTo>
                  <a:cubicBezTo>
                    <a:pt x="67" y="90"/>
                    <a:pt x="67" y="90"/>
                    <a:pt x="67" y="90"/>
                  </a:cubicBezTo>
                  <a:cubicBezTo>
                    <a:pt x="62" y="90"/>
                    <a:pt x="59" y="86"/>
                    <a:pt x="59" y="81"/>
                  </a:cubicBezTo>
                  <a:cubicBezTo>
                    <a:pt x="59" y="67"/>
                    <a:pt x="59" y="67"/>
                    <a:pt x="59" y="67"/>
                  </a:cubicBezTo>
                  <a:cubicBezTo>
                    <a:pt x="59" y="62"/>
                    <a:pt x="62" y="58"/>
                    <a:pt x="67" y="58"/>
                  </a:cubicBezTo>
                  <a:cubicBezTo>
                    <a:pt x="79" y="58"/>
                    <a:pt x="79" y="58"/>
                    <a:pt x="79" y="58"/>
                  </a:cubicBezTo>
                  <a:cubicBezTo>
                    <a:pt x="83" y="58"/>
                    <a:pt x="87" y="62"/>
                    <a:pt x="87" y="67"/>
                  </a:cubicBezTo>
                  <a:cubicBezTo>
                    <a:pt x="87" y="81"/>
                    <a:pt x="87" y="81"/>
                    <a:pt x="87" y="81"/>
                  </a:cubicBezTo>
                  <a:cubicBezTo>
                    <a:pt x="87" y="86"/>
                    <a:pt x="83" y="90"/>
                    <a:pt x="79" y="90"/>
                  </a:cubicBezTo>
                  <a:close/>
                  <a:moveTo>
                    <a:pt x="67" y="64"/>
                  </a:moveTo>
                  <a:cubicBezTo>
                    <a:pt x="66" y="64"/>
                    <a:pt x="65" y="65"/>
                    <a:pt x="65" y="67"/>
                  </a:cubicBezTo>
                  <a:cubicBezTo>
                    <a:pt x="65" y="81"/>
                    <a:pt x="65" y="81"/>
                    <a:pt x="65" y="81"/>
                  </a:cubicBezTo>
                  <a:cubicBezTo>
                    <a:pt x="65" y="83"/>
                    <a:pt x="66" y="84"/>
                    <a:pt x="67" y="84"/>
                  </a:cubicBezTo>
                  <a:cubicBezTo>
                    <a:pt x="79" y="84"/>
                    <a:pt x="79" y="84"/>
                    <a:pt x="79" y="84"/>
                  </a:cubicBezTo>
                  <a:cubicBezTo>
                    <a:pt x="80" y="84"/>
                    <a:pt x="81" y="83"/>
                    <a:pt x="81" y="81"/>
                  </a:cubicBezTo>
                  <a:cubicBezTo>
                    <a:pt x="81" y="67"/>
                    <a:pt x="81" y="67"/>
                    <a:pt x="81" y="67"/>
                  </a:cubicBezTo>
                  <a:cubicBezTo>
                    <a:pt x="81" y="65"/>
                    <a:pt x="80" y="64"/>
                    <a:pt x="79" y="64"/>
                  </a:cubicBezTo>
                  <a:lnTo>
                    <a:pt x="67" y="64"/>
                  </a:lnTo>
                  <a:close/>
                  <a:moveTo>
                    <a:pt x="129" y="77"/>
                  </a:moveTo>
                  <a:cubicBezTo>
                    <a:pt x="96" y="77"/>
                    <a:pt x="96" y="77"/>
                    <a:pt x="96" y="77"/>
                  </a:cubicBezTo>
                  <a:cubicBezTo>
                    <a:pt x="94" y="77"/>
                    <a:pt x="93" y="76"/>
                    <a:pt x="93" y="74"/>
                  </a:cubicBezTo>
                  <a:cubicBezTo>
                    <a:pt x="93" y="72"/>
                    <a:pt x="94" y="71"/>
                    <a:pt x="96" y="71"/>
                  </a:cubicBezTo>
                  <a:cubicBezTo>
                    <a:pt x="129" y="71"/>
                    <a:pt x="129" y="71"/>
                    <a:pt x="129" y="71"/>
                  </a:cubicBezTo>
                  <a:cubicBezTo>
                    <a:pt x="134" y="71"/>
                    <a:pt x="139" y="66"/>
                    <a:pt x="139" y="60"/>
                  </a:cubicBezTo>
                  <a:cubicBezTo>
                    <a:pt x="139" y="39"/>
                    <a:pt x="139" y="39"/>
                    <a:pt x="139" y="39"/>
                  </a:cubicBezTo>
                  <a:cubicBezTo>
                    <a:pt x="139" y="33"/>
                    <a:pt x="134" y="28"/>
                    <a:pt x="129" y="28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1" y="28"/>
                    <a:pt x="6" y="33"/>
                    <a:pt x="6" y="39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6" y="66"/>
                    <a:pt x="11" y="71"/>
                    <a:pt x="17" y="71"/>
                  </a:cubicBezTo>
                  <a:cubicBezTo>
                    <a:pt x="50" y="71"/>
                    <a:pt x="50" y="71"/>
                    <a:pt x="50" y="71"/>
                  </a:cubicBezTo>
                  <a:cubicBezTo>
                    <a:pt x="52" y="71"/>
                    <a:pt x="53" y="72"/>
                    <a:pt x="53" y="74"/>
                  </a:cubicBezTo>
                  <a:cubicBezTo>
                    <a:pt x="53" y="76"/>
                    <a:pt x="52" y="77"/>
                    <a:pt x="50" y="77"/>
                  </a:cubicBezTo>
                  <a:cubicBezTo>
                    <a:pt x="17" y="77"/>
                    <a:pt x="17" y="77"/>
                    <a:pt x="17" y="77"/>
                  </a:cubicBezTo>
                  <a:cubicBezTo>
                    <a:pt x="8" y="77"/>
                    <a:pt x="0" y="70"/>
                    <a:pt x="0" y="6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30"/>
                    <a:pt x="8" y="22"/>
                    <a:pt x="17" y="22"/>
                  </a:cubicBezTo>
                  <a:cubicBezTo>
                    <a:pt x="129" y="22"/>
                    <a:pt x="129" y="22"/>
                    <a:pt x="129" y="22"/>
                  </a:cubicBezTo>
                  <a:cubicBezTo>
                    <a:pt x="138" y="22"/>
                    <a:pt x="145" y="30"/>
                    <a:pt x="145" y="39"/>
                  </a:cubicBezTo>
                  <a:cubicBezTo>
                    <a:pt x="145" y="63"/>
                    <a:pt x="145" y="63"/>
                    <a:pt x="145" y="63"/>
                  </a:cubicBezTo>
                  <a:cubicBezTo>
                    <a:pt x="145" y="63"/>
                    <a:pt x="145" y="64"/>
                    <a:pt x="145" y="64"/>
                  </a:cubicBezTo>
                  <a:cubicBezTo>
                    <a:pt x="143" y="72"/>
                    <a:pt x="137" y="77"/>
                    <a:pt x="129" y="77"/>
                  </a:cubicBezTo>
                  <a:close/>
                  <a:moveTo>
                    <a:pt x="97" y="17"/>
                  </a:moveTo>
                  <a:cubicBezTo>
                    <a:pt x="95" y="17"/>
                    <a:pt x="94" y="15"/>
                    <a:pt x="94" y="13"/>
                  </a:cubicBezTo>
                  <a:cubicBezTo>
                    <a:pt x="94" y="9"/>
                    <a:pt x="90" y="6"/>
                    <a:pt x="85" y="6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56" y="6"/>
                    <a:pt x="52" y="9"/>
                    <a:pt x="52" y="13"/>
                  </a:cubicBezTo>
                  <a:cubicBezTo>
                    <a:pt x="52" y="15"/>
                    <a:pt x="50" y="17"/>
                    <a:pt x="49" y="17"/>
                  </a:cubicBezTo>
                  <a:cubicBezTo>
                    <a:pt x="47" y="17"/>
                    <a:pt x="45" y="15"/>
                    <a:pt x="45" y="13"/>
                  </a:cubicBezTo>
                  <a:cubicBezTo>
                    <a:pt x="45" y="6"/>
                    <a:pt x="52" y="0"/>
                    <a:pt x="61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93" y="0"/>
                    <a:pt x="100" y="6"/>
                    <a:pt x="100" y="13"/>
                  </a:cubicBezTo>
                  <a:cubicBezTo>
                    <a:pt x="100" y="15"/>
                    <a:pt x="99" y="17"/>
                    <a:pt x="97" y="1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881654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VEWO7WWN9QWB4K3IhIZ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JhBuMYoa_dtSDYHoSM8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_SPypkSEHWCdIYyiD1Z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4gUWU8MlMuyVogI3md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rBXLfPuxm3QOk.BDCfR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Office Theme">
  <a:themeElements>
    <a:clrScheme name="upskilPR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91B5"/>
      </a:accent1>
      <a:accent2>
        <a:srgbClr val="DB5000"/>
      </a:accent2>
      <a:accent3>
        <a:srgbClr val="EEBA00"/>
      </a:accent3>
      <a:accent4>
        <a:srgbClr val="2A4A8B"/>
      </a:accent4>
      <a:accent5>
        <a:srgbClr val="F8D90F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Office Theme">
  <a:themeElements>
    <a:clrScheme name="upskilPR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91B5"/>
      </a:accent1>
      <a:accent2>
        <a:srgbClr val="DB5000"/>
      </a:accent2>
      <a:accent3>
        <a:srgbClr val="EEBA00"/>
      </a:accent3>
      <a:accent4>
        <a:srgbClr val="2A4A8B"/>
      </a:accent4>
      <a:accent5>
        <a:srgbClr val="F8D90F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5_Office Theme">
  <a:themeElements>
    <a:clrScheme name="upskilPR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91B5"/>
      </a:accent1>
      <a:accent2>
        <a:srgbClr val="DB5000"/>
      </a:accent2>
      <a:accent3>
        <a:srgbClr val="EEBA00"/>
      </a:accent3>
      <a:accent4>
        <a:srgbClr val="2A4A8B"/>
      </a:accent4>
      <a:accent5>
        <a:srgbClr val="F8D90F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6</TotalTime>
  <Words>1070</Words>
  <Application>Microsoft Office PowerPoint</Application>
  <PresentationFormat>Widescreen</PresentationFormat>
  <Paragraphs>239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5" baseType="lpstr">
      <vt:lpstr>-apple-system</vt:lpstr>
      <vt:lpstr>arial</vt:lpstr>
      <vt:lpstr>arial</vt:lpstr>
      <vt:lpstr>Calibri</vt:lpstr>
      <vt:lpstr>Calibri Light</vt:lpstr>
      <vt:lpstr>Inter</vt:lpstr>
      <vt:lpstr>Lato Light</vt:lpstr>
      <vt:lpstr>Lato Light</vt:lpstr>
      <vt:lpstr>Plato</vt:lpstr>
      <vt:lpstr>Poppins</vt:lpstr>
      <vt:lpstr>Office Theme</vt:lpstr>
      <vt:lpstr>Custom Design</vt:lpstr>
      <vt:lpstr>4_Office Theme</vt:lpstr>
      <vt:lpstr>3_Office Theme</vt:lpstr>
      <vt:lpstr>5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udarshan Chakravarthi</dc:creator>
  <cp:lastModifiedBy>Sudarshan Raman</cp:lastModifiedBy>
  <cp:revision>12</cp:revision>
  <dcterms:created xsi:type="dcterms:W3CDTF">2020-09-25T05:55:21Z</dcterms:created>
  <dcterms:modified xsi:type="dcterms:W3CDTF">2023-07-11T11:17:53Z</dcterms:modified>
</cp:coreProperties>
</file>